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98" r:id="rId1"/>
    <p:sldMasterId id="2147483811" r:id="rId2"/>
  </p:sldMasterIdLst>
  <p:notesMasterIdLst>
    <p:notesMasterId r:id="rId30"/>
  </p:notesMasterIdLst>
  <p:sldIdLst>
    <p:sldId id="386" r:id="rId3"/>
    <p:sldId id="701" r:id="rId4"/>
    <p:sldId id="673" r:id="rId5"/>
    <p:sldId id="744" r:id="rId6"/>
    <p:sldId id="748" r:id="rId7"/>
    <p:sldId id="674" r:id="rId8"/>
    <p:sldId id="549" r:id="rId9"/>
    <p:sldId id="709" r:id="rId10"/>
    <p:sldId id="708" r:id="rId11"/>
    <p:sldId id="743" r:id="rId12"/>
    <p:sldId id="725" r:id="rId13"/>
    <p:sldId id="732" r:id="rId14"/>
    <p:sldId id="672" r:id="rId15"/>
    <p:sldId id="745" r:id="rId16"/>
    <p:sldId id="733" r:id="rId17"/>
    <p:sldId id="734" r:id="rId18"/>
    <p:sldId id="740" r:id="rId19"/>
    <p:sldId id="719" r:id="rId20"/>
    <p:sldId id="741" r:id="rId21"/>
    <p:sldId id="742" r:id="rId22"/>
    <p:sldId id="704" r:id="rId23"/>
    <p:sldId id="747" r:id="rId24"/>
    <p:sldId id="724" r:id="rId25"/>
    <p:sldId id="735" r:id="rId26"/>
    <p:sldId id="737" r:id="rId27"/>
    <p:sldId id="738" r:id="rId28"/>
    <p:sldId id="739" r:id="rId29"/>
  </p:sldIdLst>
  <p:sldSz cx="15119350" cy="10691813"/>
  <p:notesSz cx="6797675" cy="9928225"/>
  <p:defaultTextStyle>
    <a:defPPr>
      <a:defRPr lang="ru-RU"/>
    </a:defPPr>
    <a:lvl1pPr marL="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763" userDrawn="1">
          <p15:clr>
            <a:srgbClr val="A4A3A4"/>
          </p15:clr>
        </p15:guide>
        <p15:guide id="2" orient="horz" pos="3369" userDrawn="1">
          <p15:clr>
            <a:srgbClr val="A4A3A4"/>
          </p15:clr>
        </p15:guide>
        <p15:guide id="3" pos="488" userDrawn="1">
          <p15:clr>
            <a:srgbClr val="A4A3A4"/>
          </p15:clr>
        </p15:guide>
        <p15:guide id="4" orient="horz" pos="4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аталья Алтыникова" initials="НА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CDEB"/>
    <a:srgbClr val="575086"/>
    <a:srgbClr val="9D9DD7"/>
    <a:srgbClr val="423D67"/>
    <a:srgbClr val="FF5429"/>
    <a:srgbClr val="6C65A3"/>
    <a:srgbClr val="ABABDD"/>
    <a:srgbClr val="565087"/>
    <a:srgbClr val="8A8AD0"/>
    <a:srgbClr val="0074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39" autoAdjust="0"/>
    <p:restoredTop sz="99882" autoAdjust="0"/>
  </p:normalViewPr>
  <p:slideViewPr>
    <p:cSldViewPr snapToGrid="0" snapToObjects="1">
      <p:cViewPr>
        <p:scale>
          <a:sx n="68" d="100"/>
          <a:sy n="68" d="100"/>
        </p:scale>
        <p:origin x="451" y="130"/>
      </p:cViewPr>
      <p:guideLst>
        <p:guide pos="4763"/>
        <p:guide orient="horz" pos="3369"/>
        <p:guide pos="488"/>
        <p:guide orient="horz" pos="43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6" d="100"/>
          <a:sy n="76" d="100"/>
        </p:scale>
        <p:origin x="-3282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267B3D-4386-49FF-A239-2CFDEE440F46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7138D783-B3A4-464C-94A0-574245AE473B}">
      <dgm:prSet phldrT="[Текст]"/>
      <dgm:spPr/>
      <dgm:t>
        <a:bodyPr/>
        <a:lstStyle/>
        <a:p>
          <a:r>
            <a:rPr lang="ru-RU" b="1" dirty="0"/>
            <a:t>Ведение </a:t>
          </a:r>
          <a:r>
            <a:rPr lang="ru-RU" b="1" dirty="0" err="1"/>
            <a:t>Госпаблик</a:t>
          </a:r>
          <a:r>
            <a:rPr lang="ru-RU" b="1" dirty="0"/>
            <a:t>, администрирование </a:t>
          </a:r>
          <a:r>
            <a:rPr lang="ru-RU" b="1" dirty="0" err="1"/>
            <a:t>Сферума</a:t>
          </a:r>
          <a:r>
            <a:rPr lang="ru-RU" b="1" dirty="0"/>
            <a:t>  </a:t>
          </a:r>
        </a:p>
      </dgm:t>
    </dgm:pt>
    <dgm:pt modelId="{59BB006F-C197-40D4-B646-570E1C3C3BDD}" type="parTrans" cxnId="{05B56FA4-76F9-445E-87E7-A83997372977}">
      <dgm:prSet/>
      <dgm:spPr/>
      <dgm:t>
        <a:bodyPr/>
        <a:lstStyle/>
        <a:p>
          <a:endParaRPr lang="ru-RU"/>
        </a:p>
      </dgm:t>
    </dgm:pt>
    <dgm:pt modelId="{7CC7C8AE-DFBB-438B-BCC6-631637E658B8}" type="sibTrans" cxnId="{05B56FA4-76F9-445E-87E7-A83997372977}">
      <dgm:prSet/>
      <dgm:spPr/>
      <dgm:t>
        <a:bodyPr/>
        <a:lstStyle/>
        <a:p>
          <a:endParaRPr lang="ru-RU"/>
        </a:p>
      </dgm:t>
    </dgm:pt>
    <dgm:pt modelId="{6D53EB5D-07AE-4BC4-ABB1-3FB9EC6696A3}">
      <dgm:prSet phldrT="[Текст]"/>
      <dgm:spPr/>
      <dgm:t>
        <a:bodyPr/>
        <a:lstStyle/>
        <a:p>
          <a:r>
            <a:rPr lang="ru-RU" b="1" dirty="0"/>
            <a:t>Индивидуализация образования  </a:t>
          </a:r>
        </a:p>
      </dgm:t>
    </dgm:pt>
    <dgm:pt modelId="{A1061E7D-08FB-44FB-A74F-434C37785B2F}" type="parTrans" cxnId="{59151007-ACBD-4677-BE72-EBF521B71FAC}">
      <dgm:prSet/>
      <dgm:spPr/>
      <dgm:t>
        <a:bodyPr/>
        <a:lstStyle/>
        <a:p>
          <a:endParaRPr lang="ru-RU"/>
        </a:p>
      </dgm:t>
    </dgm:pt>
    <dgm:pt modelId="{0DF4CF64-1C25-4D14-8BAC-365EF2C32061}" type="sibTrans" cxnId="{59151007-ACBD-4677-BE72-EBF521B71FAC}">
      <dgm:prSet/>
      <dgm:spPr/>
      <dgm:t>
        <a:bodyPr/>
        <a:lstStyle/>
        <a:p>
          <a:endParaRPr lang="ru-RU"/>
        </a:p>
      </dgm:t>
    </dgm:pt>
    <dgm:pt modelId="{6981E7BF-085A-4071-86B9-DACB88400242}">
      <dgm:prSet phldrT="[Текст]"/>
      <dgm:spPr/>
      <dgm:t>
        <a:bodyPr/>
        <a:lstStyle/>
        <a:p>
          <a:r>
            <a:rPr lang="ru-RU" b="1" dirty="0"/>
            <a:t>Оценка качества образования</a:t>
          </a:r>
        </a:p>
      </dgm:t>
    </dgm:pt>
    <dgm:pt modelId="{F62FF50C-88DA-49F1-96BD-AD0D50C3EE9C}" type="parTrans" cxnId="{75189B55-8602-4E17-84D7-A61E9393B3E4}">
      <dgm:prSet/>
      <dgm:spPr/>
      <dgm:t>
        <a:bodyPr/>
        <a:lstStyle/>
        <a:p>
          <a:endParaRPr lang="ru-RU"/>
        </a:p>
      </dgm:t>
    </dgm:pt>
    <dgm:pt modelId="{89AABEA9-2725-4638-AA2A-20854A253CF9}" type="sibTrans" cxnId="{75189B55-8602-4E17-84D7-A61E9393B3E4}">
      <dgm:prSet/>
      <dgm:spPr/>
      <dgm:t>
        <a:bodyPr/>
        <a:lstStyle/>
        <a:p>
          <a:endParaRPr lang="ru-RU"/>
        </a:p>
      </dgm:t>
    </dgm:pt>
    <dgm:pt modelId="{2FBC3499-96DE-4843-ABE1-7FBBA16992A8}">
      <dgm:prSet/>
      <dgm:spPr/>
      <dgm:t>
        <a:bodyPr/>
        <a:lstStyle/>
        <a:p>
          <a:r>
            <a:rPr lang="ru-RU" b="1" dirty="0"/>
            <a:t>Инклюзивное образование </a:t>
          </a:r>
        </a:p>
      </dgm:t>
    </dgm:pt>
    <dgm:pt modelId="{DEF32212-7168-42DA-B86B-7545EB0D275E}" type="parTrans" cxnId="{9205B3C9-935F-45E8-8F95-321094919B08}">
      <dgm:prSet/>
      <dgm:spPr/>
      <dgm:t>
        <a:bodyPr/>
        <a:lstStyle/>
        <a:p>
          <a:endParaRPr lang="ru-RU"/>
        </a:p>
      </dgm:t>
    </dgm:pt>
    <dgm:pt modelId="{0741AFE4-BFD0-4E91-BEFB-17D9A1FEE051}" type="sibTrans" cxnId="{9205B3C9-935F-45E8-8F95-321094919B08}">
      <dgm:prSet/>
      <dgm:spPr/>
      <dgm:t>
        <a:bodyPr/>
        <a:lstStyle/>
        <a:p>
          <a:endParaRPr lang="ru-RU"/>
        </a:p>
      </dgm:t>
    </dgm:pt>
    <dgm:pt modelId="{AE50115A-31CD-445F-BD06-0FCCBAA2B4A6}">
      <dgm:prSet/>
      <dgm:spPr/>
      <dgm:t>
        <a:bodyPr/>
        <a:lstStyle/>
        <a:p>
          <a:r>
            <a:rPr lang="ru-RU" b="1" dirty="0"/>
            <a:t>Осуществление педагогической диагностики </a:t>
          </a:r>
        </a:p>
      </dgm:t>
    </dgm:pt>
    <dgm:pt modelId="{84F6A05B-4E51-47E4-BCDC-D78034CE8552}" type="parTrans" cxnId="{D2F2FFC4-0472-4325-9B8F-F853408F1FCA}">
      <dgm:prSet/>
      <dgm:spPr/>
      <dgm:t>
        <a:bodyPr/>
        <a:lstStyle/>
        <a:p>
          <a:endParaRPr lang="ru-RU"/>
        </a:p>
      </dgm:t>
    </dgm:pt>
    <dgm:pt modelId="{B5339BF3-9516-4DD3-AFB2-66E190335246}" type="sibTrans" cxnId="{D2F2FFC4-0472-4325-9B8F-F853408F1FCA}">
      <dgm:prSet/>
      <dgm:spPr/>
      <dgm:t>
        <a:bodyPr/>
        <a:lstStyle/>
        <a:p>
          <a:endParaRPr lang="ru-RU"/>
        </a:p>
      </dgm:t>
    </dgm:pt>
    <dgm:pt modelId="{F8070403-EF2E-4A5C-B566-46C5BDCEA7A6}">
      <dgm:prSet/>
      <dgm:spPr/>
      <dgm:t>
        <a:bodyPr/>
        <a:lstStyle/>
        <a:p>
          <a:r>
            <a:rPr lang="ru-RU" b="1" dirty="0"/>
            <a:t>Разработка образовательных программ </a:t>
          </a:r>
        </a:p>
      </dgm:t>
    </dgm:pt>
    <dgm:pt modelId="{6757DC5B-8084-4AAA-96B9-B4483B5A7742}" type="parTrans" cxnId="{8151B8BE-9177-478E-B33A-F72830F3D300}">
      <dgm:prSet/>
      <dgm:spPr/>
      <dgm:t>
        <a:bodyPr/>
        <a:lstStyle/>
        <a:p>
          <a:endParaRPr lang="ru-RU"/>
        </a:p>
      </dgm:t>
    </dgm:pt>
    <dgm:pt modelId="{F8C71516-B982-47A3-8036-2085F4731BB5}" type="sibTrans" cxnId="{8151B8BE-9177-478E-B33A-F72830F3D300}">
      <dgm:prSet/>
      <dgm:spPr/>
      <dgm:t>
        <a:bodyPr/>
        <a:lstStyle/>
        <a:p>
          <a:endParaRPr lang="ru-RU"/>
        </a:p>
      </dgm:t>
    </dgm:pt>
    <dgm:pt modelId="{CF504B2A-6C53-4ECE-ABB6-AD4CDF6264E0}">
      <dgm:prSet/>
      <dgm:spPr/>
      <dgm:t>
        <a:bodyPr/>
        <a:lstStyle/>
        <a:p>
          <a:r>
            <a:rPr lang="ru-RU" b="1" dirty="0"/>
            <a:t>Реализация стратегии по противодействию экстремизму  </a:t>
          </a:r>
        </a:p>
      </dgm:t>
    </dgm:pt>
    <dgm:pt modelId="{1EA3CEE6-E95B-4306-9D8D-FB3125A9D811}" type="parTrans" cxnId="{B6934724-255B-47F3-A3A4-13CB16DF1B51}">
      <dgm:prSet/>
      <dgm:spPr/>
      <dgm:t>
        <a:bodyPr/>
        <a:lstStyle/>
        <a:p>
          <a:endParaRPr lang="ru-RU"/>
        </a:p>
      </dgm:t>
    </dgm:pt>
    <dgm:pt modelId="{5A77DF2A-BBD9-48FA-B328-C5855FA4CFF5}" type="sibTrans" cxnId="{B6934724-255B-47F3-A3A4-13CB16DF1B51}">
      <dgm:prSet/>
      <dgm:spPr/>
      <dgm:t>
        <a:bodyPr/>
        <a:lstStyle/>
        <a:p>
          <a:endParaRPr lang="ru-RU"/>
        </a:p>
      </dgm:t>
    </dgm:pt>
    <dgm:pt modelId="{33337C45-8C28-426F-9846-9B20DFC13E7C}">
      <dgm:prSet/>
      <dgm:spPr/>
      <dgm:t>
        <a:bodyPr/>
        <a:lstStyle/>
        <a:p>
          <a:r>
            <a:rPr lang="ru-RU" b="1" dirty="0"/>
            <a:t>Просветительская работа с родителями </a:t>
          </a:r>
        </a:p>
      </dgm:t>
    </dgm:pt>
    <dgm:pt modelId="{2C678F4B-BF3A-489F-B46D-D054E177D426}" type="parTrans" cxnId="{BD31C5F2-20B0-419C-8E10-000C99DCD0DF}">
      <dgm:prSet/>
      <dgm:spPr/>
      <dgm:t>
        <a:bodyPr/>
        <a:lstStyle/>
        <a:p>
          <a:endParaRPr lang="ru-RU"/>
        </a:p>
      </dgm:t>
    </dgm:pt>
    <dgm:pt modelId="{56205B03-5D45-4E39-8FBF-73723C11F364}" type="sibTrans" cxnId="{BD31C5F2-20B0-419C-8E10-000C99DCD0DF}">
      <dgm:prSet/>
      <dgm:spPr/>
      <dgm:t>
        <a:bodyPr/>
        <a:lstStyle/>
        <a:p>
          <a:endParaRPr lang="ru-RU"/>
        </a:p>
      </dgm:t>
    </dgm:pt>
    <dgm:pt modelId="{1AC39F84-4393-4495-B08F-761EACAD3171}">
      <dgm:prSet/>
      <dgm:spPr/>
      <dgm:t>
        <a:bodyPr/>
        <a:lstStyle/>
        <a:p>
          <a:endParaRPr lang="ru-RU"/>
        </a:p>
      </dgm:t>
    </dgm:pt>
    <dgm:pt modelId="{4730FA02-AEA8-462E-880F-02E23225DC61}" type="parTrans" cxnId="{DF9D6760-4EAD-454B-935B-5FD842457650}">
      <dgm:prSet/>
      <dgm:spPr/>
      <dgm:t>
        <a:bodyPr/>
        <a:lstStyle/>
        <a:p>
          <a:endParaRPr lang="ru-RU"/>
        </a:p>
      </dgm:t>
    </dgm:pt>
    <dgm:pt modelId="{7EA7F62B-3A53-423A-B9DB-42BFA20D6207}" type="sibTrans" cxnId="{DF9D6760-4EAD-454B-935B-5FD842457650}">
      <dgm:prSet/>
      <dgm:spPr/>
      <dgm:t>
        <a:bodyPr/>
        <a:lstStyle/>
        <a:p>
          <a:endParaRPr lang="ru-RU"/>
        </a:p>
      </dgm:t>
    </dgm:pt>
    <dgm:pt modelId="{28464BDD-229E-4E71-8062-A4B2909CF21B}" type="pres">
      <dgm:prSet presAssocID="{8A267B3D-4386-49FF-A239-2CFDEE440F46}" presName="linear" presStyleCnt="0">
        <dgm:presLayoutVars>
          <dgm:dir/>
          <dgm:animLvl val="lvl"/>
          <dgm:resizeHandles val="exact"/>
        </dgm:presLayoutVars>
      </dgm:prSet>
      <dgm:spPr/>
    </dgm:pt>
    <dgm:pt modelId="{B43F1E78-6E24-48E7-9571-783C511924B8}" type="pres">
      <dgm:prSet presAssocID="{F8070403-EF2E-4A5C-B566-46C5BDCEA7A6}" presName="parentLin" presStyleCnt="0"/>
      <dgm:spPr/>
    </dgm:pt>
    <dgm:pt modelId="{231F3939-9854-4A05-9BF4-BC0BD89CA74F}" type="pres">
      <dgm:prSet presAssocID="{F8070403-EF2E-4A5C-B566-46C5BDCEA7A6}" presName="parentLeftMargin" presStyleLbl="node1" presStyleIdx="0" presStyleCnt="8"/>
      <dgm:spPr/>
    </dgm:pt>
    <dgm:pt modelId="{3DB007B6-4EE6-4BF8-95FD-9CDEEB1A74B3}" type="pres">
      <dgm:prSet presAssocID="{F8070403-EF2E-4A5C-B566-46C5BDCEA7A6}" presName="parentText" presStyleLbl="node1" presStyleIdx="0" presStyleCnt="8">
        <dgm:presLayoutVars>
          <dgm:chMax val="0"/>
          <dgm:bulletEnabled val="1"/>
        </dgm:presLayoutVars>
      </dgm:prSet>
      <dgm:spPr/>
    </dgm:pt>
    <dgm:pt modelId="{8B681963-7831-433A-A540-F4A6E1D39A90}" type="pres">
      <dgm:prSet presAssocID="{F8070403-EF2E-4A5C-B566-46C5BDCEA7A6}" presName="negativeSpace" presStyleCnt="0"/>
      <dgm:spPr/>
    </dgm:pt>
    <dgm:pt modelId="{F0ED0DE7-B0D5-46A1-B21B-14DA3D6C9A4E}" type="pres">
      <dgm:prSet presAssocID="{F8070403-EF2E-4A5C-B566-46C5BDCEA7A6}" presName="childText" presStyleLbl="conFgAcc1" presStyleIdx="0" presStyleCnt="8">
        <dgm:presLayoutVars>
          <dgm:bulletEnabled val="1"/>
        </dgm:presLayoutVars>
      </dgm:prSet>
      <dgm:spPr/>
    </dgm:pt>
    <dgm:pt modelId="{39481D86-7323-4633-9AD5-AB3940DB3F69}" type="pres">
      <dgm:prSet presAssocID="{F8C71516-B982-47A3-8036-2085F4731BB5}" presName="spaceBetweenRectangles" presStyleCnt="0"/>
      <dgm:spPr/>
    </dgm:pt>
    <dgm:pt modelId="{CF93DEEB-4654-43C9-94D0-E5B9F02D6067}" type="pres">
      <dgm:prSet presAssocID="{7138D783-B3A4-464C-94A0-574245AE473B}" presName="parentLin" presStyleCnt="0"/>
      <dgm:spPr/>
    </dgm:pt>
    <dgm:pt modelId="{4185BAB8-6A3D-4039-B172-F3A2681458F1}" type="pres">
      <dgm:prSet presAssocID="{7138D783-B3A4-464C-94A0-574245AE473B}" presName="parentLeftMargin" presStyleLbl="node1" presStyleIdx="0" presStyleCnt="8"/>
      <dgm:spPr/>
    </dgm:pt>
    <dgm:pt modelId="{83590AEF-1332-47ED-9C65-4735F367BB76}" type="pres">
      <dgm:prSet presAssocID="{7138D783-B3A4-464C-94A0-574245AE473B}" presName="parentText" presStyleLbl="node1" presStyleIdx="1" presStyleCnt="8">
        <dgm:presLayoutVars>
          <dgm:chMax val="0"/>
          <dgm:bulletEnabled val="1"/>
        </dgm:presLayoutVars>
      </dgm:prSet>
      <dgm:spPr/>
    </dgm:pt>
    <dgm:pt modelId="{53A99558-A601-4207-ABA0-D154CF9B4D6A}" type="pres">
      <dgm:prSet presAssocID="{7138D783-B3A4-464C-94A0-574245AE473B}" presName="negativeSpace" presStyleCnt="0"/>
      <dgm:spPr/>
    </dgm:pt>
    <dgm:pt modelId="{C503685B-CD3E-4BB9-8587-38C4A9F73E46}" type="pres">
      <dgm:prSet presAssocID="{7138D783-B3A4-464C-94A0-574245AE473B}" presName="childText" presStyleLbl="conFgAcc1" presStyleIdx="1" presStyleCnt="8">
        <dgm:presLayoutVars>
          <dgm:bulletEnabled val="1"/>
        </dgm:presLayoutVars>
      </dgm:prSet>
      <dgm:spPr/>
    </dgm:pt>
    <dgm:pt modelId="{5EFFC601-F5B9-412A-88AA-805BFBAFFAAB}" type="pres">
      <dgm:prSet presAssocID="{7CC7C8AE-DFBB-438B-BCC6-631637E658B8}" presName="spaceBetweenRectangles" presStyleCnt="0"/>
      <dgm:spPr/>
    </dgm:pt>
    <dgm:pt modelId="{D25AF465-8F05-462F-86B9-6345734AF6B2}" type="pres">
      <dgm:prSet presAssocID="{6D53EB5D-07AE-4BC4-ABB1-3FB9EC6696A3}" presName="parentLin" presStyleCnt="0"/>
      <dgm:spPr/>
    </dgm:pt>
    <dgm:pt modelId="{C7984ECA-7AF2-44DA-A7B2-C85FA8096BCE}" type="pres">
      <dgm:prSet presAssocID="{6D53EB5D-07AE-4BC4-ABB1-3FB9EC6696A3}" presName="parentLeftMargin" presStyleLbl="node1" presStyleIdx="1" presStyleCnt="8"/>
      <dgm:spPr/>
    </dgm:pt>
    <dgm:pt modelId="{B13F2604-8172-4419-A67A-273673DBC59C}" type="pres">
      <dgm:prSet presAssocID="{6D53EB5D-07AE-4BC4-ABB1-3FB9EC6696A3}" presName="parentText" presStyleLbl="node1" presStyleIdx="2" presStyleCnt="8">
        <dgm:presLayoutVars>
          <dgm:chMax val="0"/>
          <dgm:bulletEnabled val="1"/>
        </dgm:presLayoutVars>
      </dgm:prSet>
      <dgm:spPr/>
    </dgm:pt>
    <dgm:pt modelId="{C7B791B5-AE9A-4DC4-B370-A5DED5F0700E}" type="pres">
      <dgm:prSet presAssocID="{6D53EB5D-07AE-4BC4-ABB1-3FB9EC6696A3}" presName="negativeSpace" presStyleCnt="0"/>
      <dgm:spPr/>
    </dgm:pt>
    <dgm:pt modelId="{B4528D1B-54CE-4B8E-BBB0-DE1ED4B7AE19}" type="pres">
      <dgm:prSet presAssocID="{6D53EB5D-07AE-4BC4-ABB1-3FB9EC6696A3}" presName="childText" presStyleLbl="conFgAcc1" presStyleIdx="2" presStyleCnt="8">
        <dgm:presLayoutVars>
          <dgm:bulletEnabled val="1"/>
        </dgm:presLayoutVars>
      </dgm:prSet>
      <dgm:spPr/>
    </dgm:pt>
    <dgm:pt modelId="{17BF355A-F9D3-49E5-A8EC-A8B0A60AEF96}" type="pres">
      <dgm:prSet presAssocID="{0DF4CF64-1C25-4D14-8BAC-365EF2C32061}" presName="spaceBetweenRectangles" presStyleCnt="0"/>
      <dgm:spPr/>
    </dgm:pt>
    <dgm:pt modelId="{A9FFB0CA-0290-4A96-A298-2765031EA031}" type="pres">
      <dgm:prSet presAssocID="{6981E7BF-085A-4071-86B9-DACB88400242}" presName="parentLin" presStyleCnt="0"/>
      <dgm:spPr/>
    </dgm:pt>
    <dgm:pt modelId="{C78FA920-F0D3-46AD-815B-14EC0D2CFB0B}" type="pres">
      <dgm:prSet presAssocID="{6981E7BF-085A-4071-86B9-DACB88400242}" presName="parentLeftMargin" presStyleLbl="node1" presStyleIdx="2" presStyleCnt="8"/>
      <dgm:spPr/>
    </dgm:pt>
    <dgm:pt modelId="{E7AE1659-5D71-414F-977F-6ABC074A31B5}" type="pres">
      <dgm:prSet presAssocID="{6981E7BF-085A-4071-86B9-DACB88400242}" presName="parentText" presStyleLbl="node1" presStyleIdx="3" presStyleCnt="8">
        <dgm:presLayoutVars>
          <dgm:chMax val="0"/>
          <dgm:bulletEnabled val="1"/>
        </dgm:presLayoutVars>
      </dgm:prSet>
      <dgm:spPr/>
    </dgm:pt>
    <dgm:pt modelId="{13B598F6-D9F2-47AC-8FA0-139DBC03159A}" type="pres">
      <dgm:prSet presAssocID="{6981E7BF-085A-4071-86B9-DACB88400242}" presName="negativeSpace" presStyleCnt="0"/>
      <dgm:spPr/>
    </dgm:pt>
    <dgm:pt modelId="{6BB0331C-15BC-44F8-9B70-EACE4659E899}" type="pres">
      <dgm:prSet presAssocID="{6981E7BF-085A-4071-86B9-DACB88400242}" presName="childText" presStyleLbl="conFgAcc1" presStyleIdx="3" presStyleCnt="8">
        <dgm:presLayoutVars>
          <dgm:bulletEnabled val="1"/>
        </dgm:presLayoutVars>
      </dgm:prSet>
      <dgm:spPr/>
    </dgm:pt>
    <dgm:pt modelId="{9023CC82-C05D-4511-81C8-4C1CC85DA212}" type="pres">
      <dgm:prSet presAssocID="{89AABEA9-2725-4638-AA2A-20854A253CF9}" presName="spaceBetweenRectangles" presStyleCnt="0"/>
      <dgm:spPr/>
    </dgm:pt>
    <dgm:pt modelId="{7FF76353-3102-41DA-AB0D-D0652D5FD090}" type="pres">
      <dgm:prSet presAssocID="{2FBC3499-96DE-4843-ABE1-7FBBA16992A8}" presName="parentLin" presStyleCnt="0"/>
      <dgm:spPr/>
    </dgm:pt>
    <dgm:pt modelId="{256C5766-6993-402C-AA70-05BCBD7DA28D}" type="pres">
      <dgm:prSet presAssocID="{2FBC3499-96DE-4843-ABE1-7FBBA16992A8}" presName="parentLeftMargin" presStyleLbl="node1" presStyleIdx="3" presStyleCnt="8"/>
      <dgm:spPr/>
    </dgm:pt>
    <dgm:pt modelId="{F857285B-578E-4EF1-8393-0075B80C1B28}" type="pres">
      <dgm:prSet presAssocID="{2FBC3499-96DE-4843-ABE1-7FBBA16992A8}" presName="parentText" presStyleLbl="node1" presStyleIdx="4" presStyleCnt="8">
        <dgm:presLayoutVars>
          <dgm:chMax val="0"/>
          <dgm:bulletEnabled val="1"/>
        </dgm:presLayoutVars>
      </dgm:prSet>
      <dgm:spPr/>
    </dgm:pt>
    <dgm:pt modelId="{85577B04-3E04-4705-B027-B4332789425B}" type="pres">
      <dgm:prSet presAssocID="{2FBC3499-96DE-4843-ABE1-7FBBA16992A8}" presName="negativeSpace" presStyleCnt="0"/>
      <dgm:spPr/>
    </dgm:pt>
    <dgm:pt modelId="{746EE030-4E72-4816-AC0A-452D434B1762}" type="pres">
      <dgm:prSet presAssocID="{2FBC3499-96DE-4843-ABE1-7FBBA16992A8}" presName="childText" presStyleLbl="conFgAcc1" presStyleIdx="4" presStyleCnt="8">
        <dgm:presLayoutVars>
          <dgm:bulletEnabled val="1"/>
        </dgm:presLayoutVars>
      </dgm:prSet>
      <dgm:spPr/>
    </dgm:pt>
    <dgm:pt modelId="{FFBA15BA-1D28-459B-A62E-639D27DA8224}" type="pres">
      <dgm:prSet presAssocID="{0741AFE4-BFD0-4E91-BEFB-17D9A1FEE051}" presName="spaceBetweenRectangles" presStyleCnt="0"/>
      <dgm:spPr/>
    </dgm:pt>
    <dgm:pt modelId="{60E38A67-3992-4862-999C-EC99726646AC}" type="pres">
      <dgm:prSet presAssocID="{AE50115A-31CD-445F-BD06-0FCCBAA2B4A6}" presName="parentLin" presStyleCnt="0"/>
      <dgm:spPr/>
    </dgm:pt>
    <dgm:pt modelId="{B70241A1-4622-46C1-A2BF-2DF9B0BC7DFC}" type="pres">
      <dgm:prSet presAssocID="{AE50115A-31CD-445F-BD06-0FCCBAA2B4A6}" presName="parentLeftMargin" presStyleLbl="node1" presStyleIdx="4" presStyleCnt="8"/>
      <dgm:spPr/>
    </dgm:pt>
    <dgm:pt modelId="{98AEA876-41B4-49BC-95B5-76EC328DFE0C}" type="pres">
      <dgm:prSet presAssocID="{AE50115A-31CD-445F-BD06-0FCCBAA2B4A6}" presName="parentText" presStyleLbl="node1" presStyleIdx="5" presStyleCnt="8">
        <dgm:presLayoutVars>
          <dgm:chMax val="0"/>
          <dgm:bulletEnabled val="1"/>
        </dgm:presLayoutVars>
      </dgm:prSet>
      <dgm:spPr/>
    </dgm:pt>
    <dgm:pt modelId="{717B68F5-7DB3-4DCA-B27A-CF1D1FCAD187}" type="pres">
      <dgm:prSet presAssocID="{AE50115A-31CD-445F-BD06-0FCCBAA2B4A6}" presName="negativeSpace" presStyleCnt="0"/>
      <dgm:spPr/>
    </dgm:pt>
    <dgm:pt modelId="{AA6D2811-8697-4D4D-8AE7-EFC4FC48492A}" type="pres">
      <dgm:prSet presAssocID="{AE50115A-31CD-445F-BD06-0FCCBAA2B4A6}" presName="childText" presStyleLbl="conFgAcc1" presStyleIdx="5" presStyleCnt="8">
        <dgm:presLayoutVars>
          <dgm:bulletEnabled val="1"/>
        </dgm:presLayoutVars>
      </dgm:prSet>
      <dgm:spPr/>
    </dgm:pt>
    <dgm:pt modelId="{CDCEA58E-3496-43A9-96B8-DCBE8D69B327}" type="pres">
      <dgm:prSet presAssocID="{B5339BF3-9516-4DD3-AFB2-66E190335246}" presName="spaceBetweenRectangles" presStyleCnt="0"/>
      <dgm:spPr/>
    </dgm:pt>
    <dgm:pt modelId="{5C82058A-6C0A-42B8-8592-8F3DA8406CD2}" type="pres">
      <dgm:prSet presAssocID="{CF504B2A-6C53-4ECE-ABB6-AD4CDF6264E0}" presName="parentLin" presStyleCnt="0"/>
      <dgm:spPr/>
    </dgm:pt>
    <dgm:pt modelId="{679C62CB-0739-4330-ADFF-403AB5792B63}" type="pres">
      <dgm:prSet presAssocID="{CF504B2A-6C53-4ECE-ABB6-AD4CDF6264E0}" presName="parentLeftMargin" presStyleLbl="node1" presStyleIdx="5" presStyleCnt="8"/>
      <dgm:spPr/>
    </dgm:pt>
    <dgm:pt modelId="{A9808382-4870-44D1-BB20-C7CD0D1C02C0}" type="pres">
      <dgm:prSet presAssocID="{CF504B2A-6C53-4ECE-ABB6-AD4CDF6264E0}" presName="parentText" presStyleLbl="node1" presStyleIdx="6" presStyleCnt="8">
        <dgm:presLayoutVars>
          <dgm:chMax val="0"/>
          <dgm:bulletEnabled val="1"/>
        </dgm:presLayoutVars>
      </dgm:prSet>
      <dgm:spPr/>
    </dgm:pt>
    <dgm:pt modelId="{71019A02-A644-479A-BE32-67D814D5A2D2}" type="pres">
      <dgm:prSet presAssocID="{CF504B2A-6C53-4ECE-ABB6-AD4CDF6264E0}" presName="negativeSpace" presStyleCnt="0"/>
      <dgm:spPr/>
    </dgm:pt>
    <dgm:pt modelId="{34614B9E-BBB2-493D-AB2B-C6DB1491B91B}" type="pres">
      <dgm:prSet presAssocID="{CF504B2A-6C53-4ECE-ABB6-AD4CDF6264E0}" presName="childText" presStyleLbl="conFgAcc1" presStyleIdx="6" presStyleCnt="8">
        <dgm:presLayoutVars>
          <dgm:bulletEnabled val="1"/>
        </dgm:presLayoutVars>
      </dgm:prSet>
      <dgm:spPr/>
    </dgm:pt>
    <dgm:pt modelId="{C9FF3273-3F62-4016-BC5F-3AA8B903B810}" type="pres">
      <dgm:prSet presAssocID="{5A77DF2A-BBD9-48FA-B328-C5855FA4CFF5}" presName="spaceBetweenRectangles" presStyleCnt="0"/>
      <dgm:spPr/>
    </dgm:pt>
    <dgm:pt modelId="{8D2A576D-1100-4B9E-A638-294E5A7F3AC4}" type="pres">
      <dgm:prSet presAssocID="{33337C45-8C28-426F-9846-9B20DFC13E7C}" presName="parentLin" presStyleCnt="0"/>
      <dgm:spPr/>
    </dgm:pt>
    <dgm:pt modelId="{B2B907FB-878A-4E13-8EDE-CE0A592E892E}" type="pres">
      <dgm:prSet presAssocID="{33337C45-8C28-426F-9846-9B20DFC13E7C}" presName="parentLeftMargin" presStyleLbl="node1" presStyleIdx="6" presStyleCnt="8"/>
      <dgm:spPr/>
    </dgm:pt>
    <dgm:pt modelId="{B962613D-A828-47EE-AC6D-9081BAB4F5AF}" type="pres">
      <dgm:prSet presAssocID="{33337C45-8C28-426F-9846-9B20DFC13E7C}" presName="parentText" presStyleLbl="node1" presStyleIdx="7" presStyleCnt="8">
        <dgm:presLayoutVars>
          <dgm:chMax val="0"/>
          <dgm:bulletEnabled val="1"/>
        </dgm:presLayoutVars>
      </dgm:prSet>
      <dgm:spPr/>
    </dgm:pt>
    <dgm:pt modelId="{C299A9C7-4C47-4491-8B7E-D395A147E682}" type="pres">
      <dgm:prSet presAssocID="{33337C45-8C28-426F-9846-9B20DFC13E7C}" presName="negativeSpace" presStyleCnt="0"/>
      <dgm:spPr/>
    </dgm:pt>
    <dgm:pt modelId="{3930984D-D137-4AB6-8DF6-7D4A24F3EF80}" type="pres">
      <dgm:prSet presAssocID="{33337C45-8C28-426F-9846-9B20DFC13E7C}" presName="childText" presStyleLbl="conFgAcc1" presStyleIdx="7" presStyleCnt="8">
        <dgm:presLayoutVars>
          <dgm:bulletEnabled val="1"/>
        </dgm:presLayoutVars>
      </dgm:prSet>
      <dgm:spPr/>
    </dgm:pt>
  </dgm:ptLst>
  <dgm:cxnLst>
    <dgm:cxn modelId="{59151007-ACBD-4677-BE72-EBF521B71FAC}" srcId="{8A267B3D-4386-49FF-A239-2CFDEE440F46}" destId="{6D53EB5D-07AE-4BC4-ABB1-3FB9EC6696A3}" srcOrd="2" destOrd="0" parTransId="{A1061E7D-08FB-44FB-A74F-434C37785B2F}" sibTransId="{0DF4CF64-1C25-4D14-8BAC-365EF2C32061}"/>
    <dgm:cxn modelId="{CFFC6407-1200-45BC-AEC3-48AE688FB855}" type="presOf" srcId="{7138D783-B3A4-464C-94A0-574245AE473B}" destId="{83590AEF-1332-47ED-9C65-4735F367BB76}" srcOrd="1" destOrd="0" presId="urn:microsoft.com/office/officeart/2005/8/layout/list1"/>
    <dgm:cxn modelId="{EB9AEC0D-0716-4846-98E0-FCBFAEBE827E}" type="presOf" srcId="{33337C45-8C28-426F-9846-9B20DFC13E7C}" destId="{B962613D-A828-47EE-AC6D-9081BAB4F5AF}" srcOrd="1" destOrd="0" presId="urn:microsoft.com/office/officeart/2005/8/layout/list1"/>
    <dgm:cxn modelId="{5015E41B-5BC3-4374-9DAF-857AF26FB66F}" type="presOf" srcId="{6D53EB5D-07AE-4BC4-ABB1-3FB9EC6696A3}" destId="{C7984ECA-7AF2-44DA-A7B2-C85FA8096BCE}" srcOrd="0" destOrd="0" presId="urn:microsoft.com/office/officeart/2005/8/layout/list1"/>
    <dgm:cxn modelId="{B6934724-255B-47F3-A3A4-13CB16DF1B51}" srcId="{8A267B3D-4386-49FF-A239-2CFDEE440F46}" destId="{CF504B2A-6C53-4ECE-ABB6-AD4CDF6264E0}" srcOrd="6" destOrd="0" parTransId="{1EA3CEE6-E95B-4306-9D8D-FB3125A9D811}" sibTransId="{5A77DF2A-BBD9-48FA-B328-C5855FA4CFF5}"/>
    <dgm:cxn modelId="{94FD4B34-313E-4635-8787-0F3EDB79204E}" type="presOf" srcId="{CF504B2A-6C53-4ECE-ABB6-AD4CDF6264E0}" destId="{679C62CB-0739-4330-ADFF-403AB5792B63}" srcOrd="0" destOrd="0" presId="urn:microsoft.com/office/officeart/2005/8/layout/list1"/>
    <dgm:cxn modelId="{F1F56439-EE84-442C-BFE0-E504D16D7BC4}" type="presOf" srcId="{6981E7BF-085A-4071-86B9-DACB88400242}" destId="{E7AE1659-5D71-414F-977F-6ABC074A31B5}" srcOrd="1" destOrd="0" presId="urn:microsoft.com/office/officeart/2005/8/layout/list1"/>
    <dgm:cxn modelId="{DF9D6760-4EAD-454B-935B-5FD842457650}" srcId="{7138D783-B3A4-464C-94A0-574245AE473B}" destId="{1AC39F84-4393-4495-B08F-761EACAD3171}" srcOrd="0" destOrd="0" parTransId="{4730FA02-AEA8-462E-880F-02E23225DC61}" sibTransId="{7EA7F62B-3A53-423A-B9DB-42BFA20D6207}"/>
    <dgm:cxn modelId="{1F3D9965-5A5C-4C7B-9C68-D43665DAF57D}" type="presOf" srcId="{CF504B2A-6C53-4ECE-ABB6-AD4CDF6264E0}" destId="{A9808382-4870-44D1-BB20-C7CD0D1C02C0}" srcOrd="1" destOrd="0" presId="urn:microsoft.com/office/officeart/2005/8/layout/list1"/>
    <dgm:cxn modelId="{C805FB6A-B907-4CE6-9DB1-9A5AB52523C2}" type="presOf" srcId="{2FBC3499-96DE-4843-ABE1-7FBBA16992A8}" destId="{256C5766-6993-402C-AA70-05BCBD7DA28D}" srcOrd="0" destOrd="0" presId="urn:microsoft.com/office/officeart/2005/8/layout/list1"/>
    <dgm:cxn modelId="{9E12D44D-3CC8-4892-9297-B58350D98D9D}" type="presOf" srcId="{F8070403-EF2E-4A5C-B566-46C5BDCEA7A6}" destId="{231F3939-9854-4A05-9BF4-BC0BD89CA74F}" srcOrd="0" destOrd="0" presId="urn:microsoft.com/office/officeart/2005/8/layout/list1"/>
    <dgm:cxn modelId="{16A9B253-5BD4-45E3-AE2E-F19A830530EF}" type="presOf" srcId="{1AC39F84-4393-4495-B08F-761EACAD3171}" destId="{C503685B-CD3E-4BB9-8587-38C4A9F73E46}" srcOrd="0" destOrd="0" presId="urn:microsoft.com/office/officeart/2005/8/layout/list1"/>
    <dgm:cxn modelId="{75189B55-8602-4E17-84D7-A61E9393B3E4}" srcId="{8A267B3D-4386-49FF-A239-2CFDEE440F46}" destId="{6981E7BF-085A-4071-86B9-DACB88400242}" srcOrd="3" destOrd="0" parTransId="{F62FF50C-88DA-49F1-96BD-AD0D50C3EE9C}" sibTransId="{89AABEA9-2725-4638-AA2A-20854A253CF9}"/>
    <dgm:cxn modelId="{360A5B82-AE33-4AAB-91DD-B5676ED9738E}" type="presOf" srcId="{33337C45-8C28-426F-9846-9B20DFC13E7C}" destId="{B2B907FB-878A-4E13-8EDE-CE0A592E892E}" srcOrd="0" destOrd="0" presId="urn:microsoft.com/office/officeart/2005/8/layout/list1"/>
    <dgm:cxn modelId="{A2B6978A-ABA6-4E8B-B130-82017668CC8D}" type="presOf" srcId="{6981E7BF-085A-4071-86B9-DACB88400242}" destId="{C78FA920-F0D3-46AD-815B-14EC0D2CFB0B}" srcOrd="0" destOrd="0" presId="urn:microsoft.com/office/officeart/2005/8/layout/list1"/>
    <dgm:cxn modelId="{82EC0C95-CAAC-4902-AA52-E3FCE352F9C7}" type="presOf" srcId="{8A267B3D-4386-49FF-A239-2CFDEE440F46}" destId="{28464BDD-229E-4E71-8062-A4B2909CF21B}" srcOrd="0" destOrd="0" presId="urn:microsoft.com/office/officeart/2005/8/layout/list1"/>
    <dgm:cxn modelId="{EA27B79F-27A5-4993-A7B9-209D56A4A5DE}" type="presOf" srcId="{2FBC3499-96DE-4843-ABE1-7FBBA16992A8}" destId="{F857285B-578E-4EF1-8393-0075B80C1B28}" srcOrd="1" destOrd="0" presId="urn:microsoft.com/office/officeart/2005/8/layout/list1"/>
    <dgm:cxn modelId="{05B56FA4-76F9-445E-87E7-A83997372977}" srcId="{8A267B3D-4386-49FF-A239-2CFDEE440F46}" destId="{7138D783-B3A4-464C-94A0-574245AE473B}" srcOrd="1" destOrd="0" parTransId="{59BB006F-C197-40D4-B646-570E1C3C3BDD}" sibTransId="{7CC7C8AE-DFBB-438B-BCC6-631637E658B8}"/>
    <dgm:cxn modelId="{DA9AC4AD-9F76-4BD0-8818-1E4462C0C144}" type="presOf" srcId="{AE50115A-31CD-445F-BD06-0FCCBAA2B4A6}" destId="{B70241A1-4622-46C1-A2BF-2DF9B0BC7DFC}" srcOrd="0" destOrd="0" presId="urn:microsoft.com/office/officeart/2005/8/layout/list1"/>
    <dgm:cxn modelId="{330859AF-FCD7-4867-BC9C-FA84F54F5574}" type="presOf" srcId="{AE50115A-31CD-445F-BD06-0FCCBAA2B4A6}" destId="{98AEA876-41B4-49BC-95B5-76EC328DFE0C}" srcOrd="1" destOrd="0" presId="urn:microsoft.com/office/officeart/2005/8/layout/list1"/>
    <dgm:cxn modelId="{8151B8BE-9177-478E-B33A-F72830F3D300}" srcId="{8A267B3D-4386-49FF-A239-2CFDEE440F46}" destId="{F8070403-EF2E-4A5C-B566-46C5BDCEA7A6}" srcOrd="0" destOrd="0" parTransId="{6757DC5B-8084-4AAA-96B9-B4483B5A7742}" sibTransId="{F8C71516-B982-47A3-8036-2085F4731BB5}"/>
    <dgm:cxn modelId="{996EBFC3-17E2-432C-A52F-C5BE35A5E4A4}" type="presOf" srcId="{F8070403-EF2E-4A5C-B566-46C5BDCEA7A6}" destId="{3DB007B6-4EE6-4BF8-95FD-9CDEEB1A74B3}" srcOrd="1" destOrd="0" presId="urn:microsoft.com/office/officeart/2005/8/layout/list1"/>
    <dgm:cxn modelId="{D2F2FFC4-0472-4325-9B8F-F853408F1FCA}" srcId="{8A267B3D-4386-49FF-A239-2CFDEE440F46}" destId="{AE50115A-31CD-445F-BD06-0FCCBAA2B4A6}" srcOrd="5" destOrd="0" parTransId="{84F6A05B-4E51-47E4-BCDC-D78034CE8552}" sibTransId="{B5339BF3-9516-4DD3-AFB2-66E190335246}"/>
    <dgm:cxn modelId="{5B93C3C6-0ADD-4E5D-8ACF-130DC84038B2}" type="presOf" srcId="{6D53EB5D-07AE-4BC4-ABB1-3FB9EC6696A3}" destId="{B13F2604-8172-4419-A67A-273673DBC59C}" srcOrd="1" destOrd="0" presId="urn:microsoft.com/office/officeart/2005/8/layout/list1"/>
    <dgm:cxn modelId="{9205B3C9-935F-45E8-8F95-321094919B08}" srcId="{8A267B3D-4386-49FF-A239-2CFDEE440F46}" destId="{2FBC3499-96DE-4843-ABE1-7FBBA16992A8}" srcOrd="4" destOrd="0" parTransId="{DEF32212-7168-42DA-B86B-7545EB0D275E}" sibTransId="{0741AFE4-BFD0-4E91-BEFB-17D9A1FEE051}"/>
    <dgm:cxn modelId="{C19678D6-D689-4F45-A734-CDFB891150DF}" type="presOf" srcId="{7138D783-B3A4-464C-94A0-574245AE473B}" destId="{4185BAB8-6A3D-4039-B172-F3A2681458F1}" srcOrd="0" destOrd="0" presId="urn:microsoft.com/office/officeart/2005/8/layout/list1"/>
    <dgm:cxn modelId="{BD31C5F2-20B0-419C-8E10-000C99DCD0DF}" srcId="{8A267B3D-4386-49FF-A239-2CFDEE440F46}" destId="{33337C45-8C28-426F-9846-9B20DFC13E7C}" srcOrd="7" destOrd="0" parTransId="{2C678F4B-BF3A-489F-B46D-D054E177D426}" sibTransId="{56205B03-5D45-4E39-8FBF-73723C11F364}"/>
    <dgm:cxn modelId="{31011358-6AE4-47C4-AACB-6A27CDA1EE3E}" type="presParOf" srcId="{28464BDD-229E-4E71-8062-A4B2909CF21B}" destId="{B43F1E78-6E24-48E7-9571-783C511924B8}" srcOrd="0" destOrd="0" presId="urn:microsoft.com/office/officeart/2005/8/layout/list1"/>
    <dgm:cxn modelId="{2CFBAEE8-79D4-4184-BD25-BB9AC9439438}" type="presParOf" srcId="{B43F1E78-6E24-48E7-9571-783C511924B8}" destId="{231F3939-9854-4A05-9BF4-BC0BD89CA74F}" srcOrd="0" destOrd="0" presId="urn:microsoft.com/office/officeart/2005/8/layout/list1"/>
    <dgm:cxn modelId="{E2DC66FC-A624-44BE-AC4D-7B38EA4EA555}" type="presParOf" srcId="{B43F1E78-6E24-48E7-9571-783C511924B8}" destId="{3DB007B6-4EE6-4BF8-95FD-9CDEEB1A74B3}" srcOrd="1" destOrd="0" presId="urn:microsoft.com/office/officeart/2005/8/layout/list1"/>
    <dgm:cxn modelId="{5F7F679E-6F81-4561-8A5C-67825FC6707B}" type="presParOf" srcId="{28464BDD-229E-4E71-8062-A4B2909CF21B}" destId="{8B681963-7831-433A-A540-F4A6E1D39A90}" srcOrd="1" destOrd="0" presId="urn:microsoft.com/office/officeart/2005/8/layout/list1"/>
    <dgm:cxn modelId="{B25722AF-E7D7-4090-A205-A61A43A3A1CA}" type="presParOf" srcId="{28464BDD-229E-4E71-8062-A4B2909CF21B}" destId="{F0ED0DE7-B0D5-46A1-B21B-14DA3D6C9A4E}" srcOrd="2" destOrd="0" presId="urn:microsoft.com/office/officeart/2005/8/layout/list1"/>
    <dgm:cxn modelId="{44DB0080-955E-4875-927F-082A374074A1}" type="presParOf" srcId="{28464BDD-229E-4E71-8062-A4B2909CF21B}" destId="{39481D86-7323-4633-9AD5-AB3940DB3F69}" srcOrd="3" destOrd="0" presId="urn:microsoft.com/office/officeart/2005/8/layout/list1"/>
    <dgm:cxn modelId="{A3170733-0343-43B8-AD10-A970AF66569E}" type="presParOf" srcId="{28464BDD-229E-4E71-8062-A4B2909CF21B}" destId="{CF93DEEB-4654-43C9-94D0-E5B9F02D6067}" srcOrd="4" destOrd="0" presId="urn:microsoft.com/office/officeart/2005/8/layout/list1"/>
    <dgm:cxn modelId="{0C2BC208-8D37-4C80-B973-60E74560EA35}" type="presParOf" srcId="{CF93DEEB-4654-43C9-94D0-E5B9F02D6067}" destId="{4185BAB8-6A3D-4039-B172-F3A2681458F1}" srcOrd="0" destOrd="0" presId="urn:microsoft.com/office/officeart/2005/8/layout/list1"/>
    <dgm:cxn modelId="{AB1A0948-E42C-42B9-AF0E-3F440E061051}" type="presParOf" srcId="{CF93DEEB-4654-43C9-94D0-E5B9F02D6067}" destId="{83590AEF-1332-47ED-9C65-4735F367BB76}" srcOrd="1" destOrd="0" presId="urn:microsoft.com/office/officeart/2005/8/layout/list1"/>
    <dgm:cxn modelId="{546755A9-39D4-42A9-9074-0C689983E273}" type="presParOf" srcId="{28464BDD-229E-4E71-8062-A4B2909CF21B}" destId="{53A99558-A601-4207-ABA0-D154CF9B4D6A}" srcOrd="5" destOrd="0" presId="urn:microsoft.com/office/officeart/2005/8/layout/list1"/>
    <dgm:cxn modelId="{103B8333-8002-4FC2-88E6-309EBA321EC4}" type="presParOf" srcId="{28464BDD-229E-4E71-8062-A4B2909CF21B}" destId="{C503685B-CD3E-4BB9-8587-38C4A9F73E46}" srcOrd="6" destOrd="0" presId="urn:microsoft.com/office/officeart/2005/8/layout/list1"/>
    <dgm:cxn modelId="{FB4DD3FC-393C-4D23-B0DD-6B63DEA1F68C}" type="presParOf" srcId="{28464BDD-229E-4E71-8062-A4B2909CF21B}" destId="{5EFFC601-F5B9-412A-88AA-805BFBAFFAAB}" srcOrd="7" destOrd="0" presId="urn:microsoft.com/office/officeart/2005/8/layout/list1"/>
    <dgm:cxn modelId="{CCF1296E-714C-4CD0-BCA1-179B2B58026B}" type="presParOf" srcId="{28464BDD-229E-4E71-8062-A4B2909CF21B}" destId="{D25AF465-8F05-462F-86B9-6345734AF6B2}" srcOrd="8" destOrd="0" presId="urn:microsoft.com/office/officeart/2005/8/layout/list1"/>
    <dgm:cxn modelId="{54B9361E-1574-48F6-A3F3-CAD289276363}" type="presParOf" srcId="{D25AF465-8F05-462F-86B9-6345734AF6B2}" destId="{C7984ECA-7AF2-44DA-A7B2-C85FA8096BCE}" srcOrd="0" destOrd="0" presId="urn:microsoft.com/office/officeart/2005/8/layout/list1"/>
    <dgm:cxn modelId="{E67F7BEE-CC7F-41C6-80FB-D58CF7DC6A47}" type="presParOf" srcId="{D25AF465-8F05-462F-86B9-6345734AF6B2}" destId="{B13F2604-8172-4419-A67A-273673DBC59C}" srcOrd="1" destOrd="0" presId="urn:microsoft.com/office/officeart/2005/8/layout/list1"/>
    <dgm:cxn modelId="{B8EE3238-FFED-4F01-BA5E-938137BD393E}" type="presParOf" srcId="{28464BDD-229E-4E71-8062-A4B2909CF21B}" destId="{C7B791B5-AE9A-4DC4-B370-A5DED5F0700E}" srcOrd="9" destOrd="0" presId="urn:microsoft.com/office/officeart/2005/8/layout/list1"/>
    <dgm:cxn modelId="{CDF1C7CC-3E4C-46EF-A135-69F8C363DF16}" type="presParOf" srcId="{28464BDD-229E-4E71-8062-A4B2909CF21B}" destId="{B4528D1B-54CE-4B8E-BBB0-DE1ED4B7AE19}" srcOrd="10" destOrd="0" presId="urn:microsoft.com/office/officeart/2005/8/layout/list1"/>
    <dgm:cxn modelId="{533941B2-E62E-47FF-BA31-CB48FC91B7E3}" type="presParOf" srcId="{28464BDD-229E-4E71-8062-A4B2909CF21B}" destId="{17BF355A-F9D3-49E5-A8EC-A8B0A60AEF96}" srcOrd="11" destOrd="0" presId="urn:microsoft.com/office/officeart/2005/8/layout/list1"/>
    <dgm:cxn modelId="{0CED8152-FC0F-4A55-8E1E-C71B839D5BD4}" type="presParOf" srcId="{28464BDD-229E-4E71-8062-A4B2909CF21B}" destId="{A9FFB0CA-0290-4A96-A298-2765031EA031}" srcOrd="12" destOrd="0" presId="urn:microsoft.com/office/officeart/2005/8/layout/list1"/>
    <dgm:cxn modelId="{B35D7E50-8E64-48D5-9F62-DBAC0C9A79D2}" type="presParOf" srcId="{A9FFB0CA-0290-4A96-A298-2765031EA031}" destId="{C78FA920-F0D3-46AD-815B-14EC0D2CFB0B}" srcOrd="0" destOrd="0" presId="urn:microsoft.com/office/officeart/2005/8/layout/list1"/>
    <dgm:cxn modelId="{3FED90C5-BA3E-488F-ABDA-205C9C5E988E}" type="presParOf" srcId="{A9FFB0CA-0290-4A96-A298-2765031EA031}" destId="{E7AE1659-5D71-414F-977F-6ABC074A31B5}" srcOrd="1" destOrd="0" presId="urn:microsoft.com/office/officeart/2005/8/layout/list1"/>
    <dgm:cxn modelId="{3ACBCF61-BCCF-41B3-9A05-693C87F8C0FD}" type="presParOf" srcId="{28464BDD-229E-4E71-8062-A4B2909CF21B}" destId="{13B598F6-D9F2-47AC-8FA0-139DBC03159A}" srcOrd="13" destOrd="0" presId="urn:microsoft.com/office/officeart/2005/8/layout/list1"/>
    <dgm:cxn modelId="{75E64C40-3DF8-47D7-9C31-108593A0F5F1}" type="presParOf" srcId="{28464BDD-229E-4E71-8062-A4B2909CF21B}" destId="{6BB0331C-15BC-44F8-9B70-EACE4659E899}" srcOrd="14" destOrd="0" presId="urn:microsoft.com/office/officeart/2005/8/layout/list1"/>
    <dgm:cxn modelId="{3595C019-40FF-4DDE-9CAF-EF22F791E5A8}" type="presParOf" srcId="{28464BDD-229E-4E71-8062-A4B2909CF21B}" destId="{9023CC82-C05D-4511-81C8-4C1CC85DA212}" srcOrd="15" destOrd="0" presId="urn:microsoft.com/office/officeart/2005/8/layout/list1"/>
    <dgm:cxn modelId="{AA46BC22-A707-4348-BD65-D7BE618AF5AF}" type="presParOf" srcId="{28464BDD-229E-4E71-8062-A4B2909CF21B}" destId="{7FF76353-3102-41DA-AB0D-D0652D5FD090}" srcOrd="16" destOrd="0" presId="urn:microsoft.com/office/officeart/2005/8/layout/list1"/>
    <dgm:cxn modelId="{32A1B156-9ABF-4EC3-A349-9A155BB54DDE}" type="presParOf" srcId="{7FF76353-3102-41DA-AB0D-D0652D5FD090}" destId="{256C5766-6993-402C-AA70-05BCBD7DA28D}" srcOrd="0" destOrd="0" presId="urn:microsoft.com/office/officeart/2005/8/layout/list1"/>
    <dgm:cxn modelId="{E795B924-F827-49A3-8A54-BBA8D76B883C}" type="presParOf" srcId="{7FF76353-3102-41DA-AB0D-D0652D5FD090}" destId="{F857285B-578E-4EF1-8393-0075B80C1B28}" srcOrd="1" destOrd="0" presId="urn:microsoft.com/office/officeart/2005/8/layout/list1"/>
    <dgm:cxn modelId="{577B044E-87FC-4D95-8BDB-6058116610A6}" type="presParOf" srcId="{28464BDD-229E-4E71-8062-A4B2909CF21B}" destId="{85577B04-3E04-4705-B027-B4332789425B}" srcOrd="17" destOrd="0" presId="urn:microsoft.com/office/officeart/2005/8/layout/list1"/>
    <dgm:cxn modelId="{121E4549-9FFE-4AEB-81A0-07582AED1D44}" type="presParOf" srcId="{28464BDD-229E-4E71-8062-A4B2909CF21B}" destId="{746EE030-4E72-4816-AC0A-452D434B1762}" srcOrd="18" destOrd="0" presId="urn:microsoft.com/office/officeart/2005/8/layout/list1"/>
    <dgm:cxn modelId="{3007542D-E405-4DF0-8008-A289E888240C}" type="presParOf" srcId="{28464BDD-229E-4E71-8062-A4B2909CF21B}" destId="{FFBA15BA-1D28-459B-A62E-639D27DA8224}" srcOrd="19" destOrd="0" presId="urn:microsoft.com/office/officeart/2005/8/layout/list1"/>
    <dgm:cxn modelId="{1774D434-C87A-463D-87B5-AA20DFE261D8}" type="presParOf" srcId="{28464BDD-229E-4E71-8062-A4B2909CF21B}" destId="{60E38A67-3992-4862-999C-EC99726646AC}" srcOrd="20" destOrd="0" presId="urn:microsoft.com/office/officeart/2005/8/layout/list1"/>
    <dgm:cxn modelId="{3B9280BD-364B-4B96-807D-4D55DAD59014}" type="presParOf" srcId="{60E38A67-3992-4862-999C-EC99726646AC}" destId="{B70241A1-4622-46C1-A2BF-2DF9B0BC7DFC}" srcOrd="0" destOrd="0" presId="urn:microsoft.com/office/officeart/2005/8/layout/list1"/>
    <dgm:cxn modelId="{CFA425EF-D151-4F1C-A332-F648E6000AA5}" type="presParOf" srcId="{60E38A67-3992-4862-999C-EC99726646AC}" destId="{98AEA876-41B4-49BC-95B5-76EC328DFE0C}" srcOrd="1" destOrd="0" presId="urn:microsoft.com/office/officeart/2005/8/layout/list1"/>
    <dgm:cxn modelId="{80AAF87D-82FC-488F-90B7-E61790DDF00D}" type="presParOf" srcId="{28464BDD-229E-4E71-8062-A4B2909CF21B}" destId="{717B68F5-7DB3-4DCA-B27A-CF1D1FCAD187}" srcOrd="21" destOrd="0" presId="urn:microsoft.com/office/officeart/2005/8/layout/list1"/>
    <dgm:cxn modelId="{C60EC2AA-D9DA-44E7-8455-FE25A936CFB3}" type="presParOf" srcId="{28464BDD-229E-4E71-8062-A4B2909CF21B}" destId="{AA6D2811-8697-4D4D-8AE7-EFC4FC48492A}" srcOrd="22" destOrd="0" presId="urn:microsoft.com/office/officeart/2005/8/layout/list1"/>
    <dgm:cxn modelId="{A1BB0319-5105-425D-9624-B6DE4E0E832B}" type="presParOf" srcId="{28464BDD-229E-4E71-8062-A4B2909CF21B}" destId="{CDCEA58E-3496-43A9-96B8-DCBE8D69B327}" srcOrd="23" destOrd="0" presId="urn:microsoft.com/office/officeart/2005/8/layout/list1"/>
    <dgm:cxn modelId="{F1B443E0-4751-43E4-8194-B93F480BFB4D}" type="presParOf" srcId="{28464BDD-229E-4E71-8062-A4B2909CF21B}" destId="{5C82058A-6C0A-42B8-8592-8F3DA8406CD2}" srcOrd="24" destOrd="0" presId="urn:microsoft.com/office/officeart/2005/8/layout/list1"/>
    <dgm:cxn modelId="{1A88C61B-6F89-45C9-9126-77851A266C8A}" type="presParOf" srcId="{5C82058A-6C0A-42B8-8592-8F3DA8406CD2}" destId="{679C62CB-0739-4330-ADFF-403AB5792B63}" srcOrd="0" destOrd="0" presId="urn:microsoft.com/office/officeart/2005/8/layout/list1"/>
    <dgm:cxn modelId="{F91D0897-8E02-4DA8-AEDC-337ED93273C8}" type="presParOf" srcId="{5C82058A-6C0A-42B8-8592-8F3DA8406CD2}" destId="{A9808382-4870-44D1-BB20-C7CD0D1C02C0}" srcOrd="1" destOrd="0" presId="urn:microsoft.com/office/officeart/2005/8/layout/list1"/>
    <dgm:cxn modelId="{19DE697E-1097-4482-B2E6-3242BE8BE8A7}" type="presParOf" srcId="{28464BDD-229E-4E71-8062-A4B2909CF21B}" destId="{71019A02-A644-479A-BE32-67D814D5A2D2}" srcOrd="25" destOrd="0" presId="urn:microsoft.com/office/officeart/2005/8/layout/list1"/>
    <dgm:cxn modelId="{A49E38A1-B89D-4C50-8995-1C8355E76D78}" type="presParOf" srcId="{28464BDD-229E-4E71-8062-A4B2909CF21B}" destId="{34614B9E-BBB2-493D-AB2B-C6DB1491B91B}" srcOrd="26" destOrd="0" presId="urn:microsoft.com/office/officeart/2005/8/layout/list1"/>
    <dgm:cxn modelId="{5A9D6F61-9839-461F-A458-822621DFB316}" type="presParOf" srcId="{28464BDD-229E-4E71-8062-A4B2909CF21B}" destId="{C9FF3273-3F62-4016-BC5F-3AA8B903B810}" srcOrd="27" destOrd="0" presId="urn:microsoft.com/office/officeart/2005/8/layout/list1"/>
    <dgm:cxn modelId="{36FE4722-8504-4196-934F-0B3BFC492706}" type="presParOf" srcId="{28464BDD-229E-4E71-8062-A4B2909CF21B}" destId="{8D2A576D-1100-4B9E-A638-294E5A7F3AC4}" srcOrd="28" destOrd="0" presId="urn:microsoft.com/office/officeart/2005/8/layout/list1"/>
    <dgm:cxn modelId="{AF3F39F6-AD7A-4A54-8D69-05E0B3F541D3}" type="presParOf" srcId="{8D2A576D-1100-4B9E-A638-294E5A7F3AC4}" destId="{B2B907FB-878A-4E13-8EDE-CE0A592E892E}" srcOrd="0" destOrd="0" presId="urn:microsoft.com/office/officeart/2005/8/layout/list1"/>
    <dgm:cxn modelId="{DBC342FF-7F47-4DEB-81A5-47003F551894}" type="presParOf" srcId="{8D2A576D-1100-4B9E-A638-294E5A7F3AC4}" destId="{B962613D-A828-47EE-AC6D-9081BAB4F5AF}" srcOrd="1" destOrd="0" presId="urn:microsoft.com/office/officeart/2005/8/layout/list1"/>
    <dgm:cxn modelId="{36E15D51-C052-4591-9E74-7FBDEF7D392B}" type="presParOf" srcId="{28464BDD-229E-4E71-8062-A4B2909CF21B}" destId="{C299A9C7-4C47-4491-8B7E-D395A147E682}" srcOrd="29" destOrd="0" presId="urn:microsoft.com/office/officeart/2005/8/layout/list1"/>
    <dgm:cxn modelId="{5961EF40-F0C5-4FA7-A022-0803C7C0AF19}" type="presParOf" srcId="{28464BDD-229E-4E71-8062-A4B2909CF21B}" destId="{3930984D-D137-4AB6-8DF6-7D4A24F3EF80}" srcOrd="3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80650FE-1D3E-4939-BB65-627C3626BCCA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945DF57-A3AA-4F7E-B6FB-1D3D3708034E}">
      <dgm:prSet phldrT="[Текст]"/>
      <dgm:spPr/>
      <dgm:t>
        <a:bodyPr/>
        <a:lstStyle/>
        <a:p>
          <a:r>
            <a:rPr lang="ru-RU" dirty="0"/>
            <a:t>Запросы</a:t>
          </a:r>
        </a:p>
        <a:p>
          <a:r>
            <a:rPr lang="ru-RU" dirty="0"/>
            <a:t>Мониторинги   </a:t>
          </a:r>
        </a:p>
      </dgm:t>
    </dgm:pt>
    <dgm:pt modelId="{2771B63F-BE07-4415-8ADA-51A2FDAB91A7}" type="parTrans" cxnId="{D800E95F-D3CC-4E44-916F-AA6914057138}">
      <dgm:prSet/>
      <dgm:spPr/>
      <dgm:t>
        <a:bodyPr/>
        <a:lstStyle/>
        <a:p>
          <a:endParaRPr lang="ru-RU"/>
        </a:p>
      </dgm:t>
    </dgm:pt>
    <dgm:pt modelId="{0DDF4B5E-4AF3-4ECE-9898-04F0A6949EBC}" type="sibTrans" cxnId="{D800E95F-D3CC-4E44-916F-AA6914057138}">
      <dgm:prSet/>
      <dgm:spPr/>
      <dgm:t>
        <a:bodyPr/>
        <a:lstStyle/>
        <a:p>
          <a:endParaRPr lang="ru-RU"/>
        </a:p>
      </dgm:t>
    </dgm:pt>
    <dgm:pt modelId="{88F4189C-42C2-4701-A490-ABED675040F2}">
      <dgm:prSet phldrT="[Текст]"/>
      <dgm:spPr/>
      <dgm:t>
        <a:bodyPr/>
        <a:lstStyle/>
        <a:p>
          <a:r>
            <a:rPr lang="ru-RU" dirty="0" err="1"/>
            <a:t>Госпаблики</a:t>
          </a:r>
          <a:r>
            <a:rPr lang="ru-RU" dirty="0"/>
            <a:t> </a:t>
          </a:r>
        </a:p>
        <a:p>
          <a:r>
            <a:rPr lang="ru-RU" dirty="0"/>
            <a:t>Фотоотчеты  </a:t>
          </a:r>
        </a:p>
      </dgm:t>
    </dgm:pt>
    <dgm:pt modelId="{F53B7E5F-BBFF-4EAE-A4B8-72888D4D0CE1}" type="parTrans" cxnId="{5E0E69BC-EB5A-4472-8B7D-280ECDB07458}">
      <dgm:prSet/>
      <dgm:spPr/>
      <dgm:t>
        <a:bodyPr/>
        <a:lstStyle/>
        <a:p>
          <a:endParaRPr lang="ru-RU"/>
        </a:p>
      </dgm:t>
    </dgm:pt>
    <dgm:pt modelId="{C67688E9-A5DD-485F-AC51-6AAC53916F57}" type="sibTrans" cxnId="{5E0E69BC-EB5A-4472-8B7D-280ECDB07458}">
      <dgm:prSet/>
      <dgm:spPr/>
      <dgm:t>
        <a:bodyPr/>
        <a:lstStyle/>
        <a:p>
          <a:endParaRPr lang="ru-RU"/>
        </a:p>
      </dgm:t>
    </dgm:pt>
    <dgm:pt modelId="{E185FEBB-587B-46E3-9F6C-9E59A86F2E85}">
      <dgm:prSet phldrT="[Текст]"/>
      <dgm:spPr/>
      <dgm:t>
        <a:bodyPr/>
        <a:lstStyle/>
        <a:p>
          <a:r>
            <a:rPr lang="ru-RU" dirty="0"/>
            <a:t>Большое количество информационных систем и низкий уровень их интеграции </a:t>
          </a:r>
        </a:p>
      </dgm:t>
    </dgm:pt>
    <dgm:pt modelId="{6DAEA4C7-EBC3-48D0-8DB4-F7F85FC78AE3}" type="parTrans" cxnId="{FB32E2F0-E2B3-44A3-A752-55D988089735}">
      <dgm:prSet/>
      <dgm:spPr/>
      <dgm:t>
        <a:bodyPr/>
        <a:lstStyle/>
        <a:p>
          <a:endParaRPr lang="ru-RU"/>
        </a:p>
      </dgm:t>
    </dgm:pt>
    <dgm:pt modelId="{8ADF8316-46D7-4871-A896-BF75B1BDBF28}" type="sibTrans" cxnId="{FB32E2F0-E2B3-44A3-A752-55D988089735}">
      <dgm:prSet/>
      <dgm:spPr/>
      <dgm:t>
        <a:bodyPr/>
        <a:lstStyle/>
        <a:p>
          <a:endParaRPr lang="ru-RU"/>
        </a:p>
      </dgm:t>
    </dgm:pt>
    <dgm:pt modelId="{17C855F2-08B2-4459-B867-3BD189F20404}">
      <dgm:prSet phldrT="[Текст]"/>
      <dgm:spPr/>
      <dgm:t>
        <a:bodyPr/>
        <a:lstStyle/>
        <a:p>
          <a:r>
            <a:rPr lang="ru-RU" dirty="0"/>
            <a:t>Отсутствие четких рамок функционала педагогов  </a:t>
          </a:r>
        </a:p>
      </dgm:t>
    </dgm:pt>
    <dgm:pt modelId="{2847BC6F-7DAC-4845-9A05-C14E752E23EF}" type="parTrans" cxnId="{425DD882-443A-452C-9252-AB0A6CBB1127}">
      <dgm:prSet/>
      <dgm:spPr/>
      <dgm:t>
        <a:bodyPr/>
        <a:lstStyle/>
        <a:p>
          <a:endParaRPr lang="ru-RU"/>
        </a:p>
      </dgm:t>
    </dgm:pt>
    <dgm:pt modelId="{B014A290-F45E-4B6D-B784-8AFC3F3B9359}" type="sibTrans" cxnId="{425DD882-443A-452C-9252-AB0A6CBB1127}">
      <dgm:prSet/>
      <dgm:spPr/>
      <dgm:t>
        <a:bodyPr/>
        <a:lstStyle/>
        <a:p>
          <a:endParaRPr lang="ru-RU"/>
        </a:p>
      </dgm:t>
    </dgm:pt>
    <dgm:pt modelId="{EA248AE8-E72E-49BF-9C8D-7931FAE1DB47}">
      <dgm:prSet phldrT="[Текст]"/>
      <dgm:spPr/>
      <dgm:t>
        <a:bodyPr/>
        <a:lstStyle/>
        <a:p>
          <a:r>
            <a:rPr lang="ru-RU" dirty="0"/>
            <a:t>Отсутствие четких требований к структуре и содержанию  методических материалов </a:t>
          </a:r>
        </a:p>
      </dgm:t>
    </dgm:pt>
    <dgm:pt modelId="{D1E1A7AF-B57F-42BD-855A-0D790EC6AE8C}" type="sibTrans" cxnId="{0DA9BC76-FD51-44A5-84DF-38DB2E2185EF}">
      <dgm:prSet/>
      <dgm:spPr/>
      <dgm:t>
        <a:bodyPr/>
        <a:lstStyle/>
        <a:p>
          <a:endParaRPr lang="ru-RU"/>
        </a:p>
      </dgm:t>
    </dgm:pt>
    <dgm:pt modelId="{B071FB96-E06B-4A42-AF56-563A896C758F}" type="parTrans" cxnId="{0DA9BC76-FD51-44A5-84DF-38DB2E2185EF}">
      <dgm:prSet/>
      <dgm:spPr/>
      <dgm:t>
        <a:bodyPr/>
        <a:lstStyle/>
        <a:p>
          <a:endParaRPr lang="ru-RU"/>
        </a:p>
      </dgm:t>
    </dgm:pt>
    <dgm:pt modelId="{D93D6BC6-0F36-4A85-8617-C900729414DA}">
      <dgm:prSet/>
      <dgm:spPr/>
      <dgm:t>
        <a:bodyPr/>
        <a:lstStyle/>
        <a:p>
          <a:r>
            <a:rPr lang="ru-RU" dirty="0"/>
            <a:t>Отсутствие единых требований к структуре и содержанию документов </a:t>
          </a:r>
        </a:p>
      </dgm:t>
    </dgm:pt>
    <dgm:pt modelId="{82A01471-E505-4929-83AE-6001B6B67772}" type="parTrans" cxnId="{764BA8F5-56A1-4514-98BB-8095734D9255}">
      <dgm:prSet/>
      <dgm:spPr/>
      <dgm:t>
        <a:bodyPr/>
        <a:lstStyle/>
        <a:p>
          <a:endParaRPr lang="ru-RU"/>
        </a:p>
      </dgm:t>
    </dgm:pt>
    <dgm:pt modelId="{69D910E2-48B4-4F92-A06C-98D20C4A61E9}" type="sibTrans" cxnId="{764BA8F5-56A1-4514-98BB-8095734D9255}">
      <dgm:prSet/>
      <dgm:spPr/>
      <dgm:t>
        <a:bodyPr/>
        <a:lstStyle/>
        <a:p>
          <a:endParaRPr lang="ru-RU"/>
        </a:p>
      </dgm:t>
    </dgm:pt>
    <dgm:pt modelId="{3E6D3974-8C97-4715-8EB6-B41B5962BE54}" type="pres">
      <dgm:prSet presAssocID="{D80650FE-1D3E-4939-BB65-627C3626BCCA}" presName="diagram" presStyleCnt="0">
        <dgm:presLayoutVars>
          <dgm:dir/>
          <dgm:resizeHandles val="exact"/>
        </dgm:presLayoutVars>
      </dgm:prSet>
      <dgm:spPr/>
    </dgm:pt>
    <dgm:pt modelId="{A182AC70-8BD5-4F78-AA88-F0EE4A6655A1}" type="pres">
      <dgm:prSet presAssocID="{5945DF57-A3AA-4F7E-B6FB-1D3D3708034E}" presName="node" presStyleLbl="node1" presStyleIdx="0" presStyleCnt="6">
        <dgm:presLayoutVars>
          <dgm:bulletEnabled val="1"/>
        </dgm:presLayoutVars>
      </dgm:prSet>
      <dgm:spPr/>
    </dgm:pt>
    <dgm:pt modelId="{EDE98C34-7CCC-412F-A718-4AAC75F9AC35}" type="pres">
      <dgm:prSet presAssocID="{0DDF4B5E-4AF3-4ECE-9898-04F0A6949EBC}" presName="sibTrans" presStyleCnt="0"/>
      <dgm:spPr/>
    </dgm:pt>
    <dgm:pt modelId="{FB071589-518A-4736-9871-4B1D04C338AC}" type="pres">
      <dgm:prSet presAssocID="{88F4189C-42C2-4701-A490-ABED675040F2}" presName="node" presStyleLbl="node1" presStyleIdx="1" presStyleCnt="6">
        <dgm:presLayoutVars>
          <dgm:bulletEnabled val="1"/>
        </dgm:presLayoutVars>
      </dgm:prSet>
      <dgm:spPr/>
    </dgm:pt>
    <dgm:pt modelId="{916F9CB0-9367-4E13-B3D4-383D62C516DC}" type="pres">
      <dgm:prSet presAssocID="{C67688E9-A5DD-485F-AC51-6AAC53916F57}" presName="sibTrans" presStyleCnt="0"/>
      <dgm:spPr/>
    </dgm:pt>
    <dgm:pt modelId="{1BA86FF7-7F9B-4BBB-84C3-084386C30850}" type="pres">
      <dgm:prSet presAssocID="{EA248AE8-E72E-49BF-9C8D-7931FAE1DB47}" presName="node" presStyleLbl="node1" presStyleIdx="2" presStyleCnt="6">
        <dgm:presLayoutVars>
          <dgm:bulletEnabled val="1"/>
        </dgm:presLayoutVars>
      </dgm:prSet>
      <dgm:spPr/>
    </dgm:pt>
    <dgm:pt modelId="{DAE15F82-363C-4C0A-A928-0C87B02E2A2A}" type="pres">
      <dgm:prSet presAssocID="{D1E1A7AF-B57F-42BD-855A-0D790EC6AE8C}" presName="sibTrans" presStyleCnt="0"/>
      <dgm:spPr/>
    </dgm:pt>
    <dgm:pt modelId="{0C8977CC-3A40-4F4E-A3F2-277102377721}" type="pres">
      <dgm:prSet presAssocID="{E185FEBB-587B-46E3-9F6C-9E59A86F2E85}" presName="node" presStyleLbl="node1" presStyleIdx="3" presStyleCnt="6">
        <dgm:presLayoutVars>
          <dgm:bulletEnabled val="1"/>
        </dgm:presLayoutVars>
      </dgm:prSet>
      <dgm:spPr/>
    </dgm:pt>
    <dgm:pt modelId="{53E397DA-DEDF-4DB5-85FB-63CB21F6B566}" type="pres">
      <dgm:prSet presAssocID="{8ADF8316-46D7-4871-A896-BF75B1BDBF28}" presName="sibTrans" presStyleCnt="0"/>
      <dgm:spPr/>
    </dgm:pt>
    <dgm:pt modelId="{70967518-B044-4505-9C99-4015467C040F}" type="pres">
      <dgm:prSet presAssocID="{17C855F2-08B2-4459-B867-3BD189F20404}" presName="node" presStyleLbl="node1" presStyleIdx="4" presStyleCnt="6">
        <dgm:presLayoutVars>
          <dgm:bulletEnabled val="1"/>
        </dgm:presLayoutVars>
      </dgm:prSet>
      <dgm:spPr/>
    </dgm:pt>
    <dgm:pt modelId="{2266FE51-DBA8-4BC3-BD1A-8F489AB14CD8}" type="pres">
      <dgm:prSet presAssocID="{B014A290-F45E-4B6D-B784-8AFC3F3B9359}" presName="sibTrans" presStyleCnt="0"/>
      <dgm:spPr/>
    </dgm:pt>
    <dgm:pt modelId="{AF0A9284-7A9A-4BF2-8187-422DFE74B909}" type="pres">
      <dgm:prSet presAssocID="{D93D6BC6-0F36-4A85-8617-C900729414DA}" presName="node" presStyleLbl="node1" presStyleIdx="5" presStyleCnt="6">
        <dgm:presLayoutVars>
          <dgm:bulletEnabled val="1"/>
        </dgm:presLayoutVars>
      </dgm:prSet>
      <dgm:spPr/>
    </dgm:pt>
  </dgm:ptLst>
  <dgm:cxnLst>
    <dgm:cxn modelId="{C6881F0B-0910-46D2-BB51-0D73CE5A872D}" type="presOf" srcId="{EA248AE8-E72E-49BF-9C8D-7931FAE1DB47}" destId="{1BA86FF7-7F9B-4BBB-84C3-084386C30850}" srcOrd="0" destOrd="0" presId="urn:microsoft.com/office/officeart/2005/8/layout/default"/>
    <dgm:cxn modelId="{2495A627-14DE-4F87-871A-B4E251AA3AE3}" type="presOf" srcId="{E185FEBB-587B-46E3-9F6C-9E59A86F2E85}" destId="{0C8977CC-3A40-4F4E-A3F2-277102377721}" srcOrd="0" destOrd="0" presId="urn:microsoft.com/office/officeart/2005/8/layout/default"/>
    <dgm:cxn modelId="{D800E95F-D3CC-4E44-916F-AA6914057138}" srcId="{D80650FE-1D3E-4939-BB65-627C3626BCCA}" destId="{5945DF57-A3AA-4F7E-B6FB-1D3D3708034E}" srcOrd="0" destOrd="0" parTransId="{2771B63F-BE07-4415-8ADA-51A2FDAB91A7}" sibTransId="{0DDF4B5E-4AF3-4ECE-9898-04F0A6949EBC}"/>
    <dgm:cxn modelId="{89484A67-5A11-43E1-B577-D54E41F80563}" type="presOf" srcId="{88F4189C-42C2-4701-A490-ABED675040F2}" destId="{FB071589-518A-4736-9871-4B1D04C338AC}" srcOrd="0" destOrd="0" presId="urn:microsoft.com/office/officeart/2005/8/layout/default"/>
    <dgm:cxn modelId="{989D6F4D-A1B0-4C6E-AA9C-8F2440E348DF}" type="presOf" srcId="{17C855F2-08B2-4459-B867-3BD189F20404}" destId="{70967518-B044-4505-9C99-4015467C040F}" srcOrd="0" destOrd="0" presId="urn:microsoft.com/office/officeart/2005/8/layout/default"/>
    <dgm:cxn modelId="{0DA9BC76-FD51-44A5-84DF-38DB2E2185EF}" srcId="{D80650FE-1D3E-4939-BB65-627C3626BCCA}" destId="{EA248AE8-E72E-49BF-9C8D-7931FAE1DB47}" srcOrd="2" destOrd="0" parTransId="{B071FB96-E06B-4A42-AF56-563A896C758F}" sibTransId="{D1E1A7AF-B57F-42BD-855A-0D790EC6AE8C}"/>
    <dgm:cxn modelId="{425DD882-443A-452C-9252-AB0A6CBB1127}" srcId="{D80650FE-1D3E-4939-BB65-627C3626BCCA}" destId="{17C855F2-08B2-4459-B867-3BD189F20404}" srcOrd="4" destOrd="0" parTransId="{2847BC6F-7DAC-4845-9A05-C14E752E23EF}" sibTransId="{B014A290-F45E-4B6D-B784-8AFC3F3B9359}"/>
    <dgm:cxn modelId="{DF8734A3-E5C4-4DA4-936B-87638CC31961}" type="presOf" srcId="{5945DF57-A3AA-4F7E-B6FB-1D3D3708034E}" destId="{A182AC70-8BD5-4F78-AA88-F0EE4A6655A1}" srcOrd="0" destOrd="0" presId="urn:microsoft.com/office/officeart/2005/8/layout/default"/>
    <dgm:cxn modelId="{8C9FCBB3-E862-4AEF-89AC-82C6A78625B5}" type="presOf" srcId="{D80650FE-1D3E-4939-BB65-627C3626BCCA}" destId="{3E6D3974-8C97-4715-8EB6-B41B5962BE54}" srcOrd="0" destOrd="0" presId="urn:microsoft.com/office/officeart/2005/8/layout/default"/>
    <dgm:cxn modelId="{5E0E69BC-EB5A-4472-8B7D-280ECDB07458}" srcId="{D80650FE-1D3E-4939-BB65-627C3626BCCA}" destId="{88F4189C-42C2-4701-A490-ABED675040F2}" srcOrd="1" destOrd="0" parTransId="{F53B7E5F-BBFF-4EAE-A4B8-72888D4D0CE1}" sibTransId="{C67688E9-A5DD-485F-AC51-6AAC53916F57}"/>
    <dgm:cxn modelId="{7A329FBD-29D7-4A4D-B31A-58F43A698366}" type="presOf" srcId="{D93D6BC6-0F36-4A85-8617-C900729414DA}" destId="{AF0A9284-7A9A-4BF2-8187-422DFE74B909}" srcOrd="0" destOrd="0" presId="urn:microsoft.com/office/officeart/2005/8/layout/default"/>
    <dgm:cxn modelId="{FB32E2F0-E2B3-44A3-A752-55D988089735}" srcId="{D80650FE-1D3E-4939-BB65-627C3626BCCA}" destId="{E185FEBB-587B-46E3-9F6C-9E59A86F2E85}" srcOrd="3" destOrd="0" parTransId="{6DAEA4C7-EBC3-48D0-8DB4-F7F85FC78AE3}" sibTransId="{8ADF8316-46D7-4871-A896-BF75B1BDBF28}"/>
    <dgm:cxn modelId="{764BA8F5-56A1-4514-98BB-8095734D9255}" srcId="{D80650FE-1D3E-4939-BB65-627C3626BCCA}" destId="{D93D6BC6-0F36-4A85-8617-C900729414DA}" srcOrd="5" destOrd="0" parTransId="{82A01471-E505-4929-83AE-6001B6B67772}" sibTransId="{69D910E2-48B4-4F92-A06C-98D20C4A61E9}"/>
    <dgm:cxn modelId="{AE49F7DB-5954-422B-AE48-D0C70E51E24A}" type="presParOf" srcId="{3E6D3974-8C97-4715-8EB6-B41B5962BE54}" destId="{A182AC70-8BD5-4F78-AA88-F0EE4A6655A1}" srcOrd="0" destOrd="0" presId="urn:microsoft.com/office/officeart/2005/8/layout/default"/>
    <dgm:cxn modelId="{9528EC70-D136-4707-93B2-1C3E31F361C3}" type="presParOf" srcId="{3E6D3974-8C97-4715-8EB6-B41B5962BE54}" destId="{EDE98C34-7CCC-412F-A718-4AAC75F9AC35}" srcOrd="1" destOrd="0" presId="urn:microsoft.com/office/officeart/2005/8/layout/default"/>
    <dgm:cxn modelId="{1D01AF1C-2B44-4E0B-87C7-4E0F664AC4CD}" type="presParOf" srcId="{3E6D3974-8C97-4715-8EB6-B41B5962BE54}" destId="{FB071589-518A-4736-9871-4B1D04C338AC}" srcOrd="2" destOrd="0" presId="urn:microsoft.com/office/officeart/2005/8/layout/default"/>
    <dgm:cxn modelId="{2701C3E8-1D39-43FA-B50C-C77075933687}" type="presParOf" srcId="{3E6D3974-8C97-4715-8EB6-B41B5962BE54}" destId="{916F9CB0-9367-4E13-B3D4-383D62C516DC}" srcOrd="3" destOrd="0" presId="urn:microsoft.com/office/officeart/2005/8/layout/default"/>
    <dgm:cxn modelId="{D6F55F02-ABE1-4A06-9062-85AB001FA61C}" type="presParOf" srcId="{3E6D3974-8C97-4715-8EB6-B41B5962BE54}" destId="{1BA86FF7-7F9B-4BBB-84C3-084386C30850}" srcOrd="4" destOrd="0" presId="urn:microsoft.com/office/officeart/2005/8/layout/default"/>
    <dgm:cxn modelId="{80E7A180-51BE-4567-B988-59E25563191C}" type="presParOf" srcId="{3E6D3974-8C97-4715-8EB6-B41B5962BE54}" destId="{DAE15F82-363C-4C0A-A928-0C87B02E2A2A}" srcOrd="5" destOrd="0" presId="urn:microsoft.com/office/officeart/2005/8/layout/default"/>
    <dgm:cxn modelId="{495BC9DF-3237-4867-BE79-71A3278967F2}" type="presParOf" srcId="{3E6D3974-8C97-4715-8EB6-B41B5962BE54}" destId="{0C8977CC-3A40-4F4E-A3F2-277102377721}" srcOrd="6" destOrd="0" presId="urn:microsoft.com/office/officeart/2005/8/layout/default"/>
    <dgm:cxn modelId="{179728E9-2ED8-41A9-8263-B79C64E16B90}" type="presParOf" srcId="{3E6D3974-8C97-4715-8EB6-B41B5962BE54}" destId="{53E397DA-DEDF-4DB5-85FB-63CB21F6B566}" srcOrd="7" destOrd="0" presId="urn:microsoft.com/office/officeart/2005/8/layout/default"/>
    <dgm:cxn modelId="{E9511796-6415-4C94-BBBA-2F1305A5858A}" type="presParOf" srcId="{3E6D3974-8C97-4715-8EB6-B41B5962BE54}" destId="{70967518-B044-4505-9C99-4015467C040F}" srcOrd="8" destOrd="0" presId="urn:microsoft.com/office/officeart/2005/8/layout/default"/>
    <dgm:cxn modelId="{E70563F7-4BD7-4874-AEB6-566E8018BF2C}" type="presParOf" srcId="{3E6D3974-8C97-4715-8EB6-B41B5962BE54}" destId="{2266FE51-DBA8-4BC3-BD1A-8F489AB14CD8}" srcOrd="9" destOrd="0" presId="urn:microsoft.com/office/officeart/2005/8/layout/default"/>
    <dgm:cxn modelId="{D38675E5-9701-4158-B06C-D0ABCC12248D}" type="presParOf" srcId="{3E6D3974-8C97-4715-8EB6-B41B5962BE54}" destId="{AF0A9284-7A9A-4BF2-8187-422DFE74B909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8B4119F-7DE0-40F0-9610-2028EA567050}" type="doc">
      <dgm:prSet loTypeId="urn:microsoft.com/office/officeart/2005/8/layout/StepDownProcess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BAD3680-E04F-4246-865B-1AB79F4DA0B6}">
      <dgm:prSet phldrT="[Текст]" custT="1"/>
      <dgm:spPr>
        <a:solidFill>
          <a:schemeClr val="accent6">
            <a:lumMod val="40000"/>
            <a:lumOff val="6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3200" dirty="0"/>
            <a:t>1 ЭТАП </a:t>
          </a:r>
        </a:p>
      </dgm:t>
    </dgm:pt>
    <dgm:pt modelId="{F966E53A-0AF3-41BB-96FE-C7E17297BBFB}" type="parTrans" cxnId="{1C133EE4-833E-4C98-9110-004768845458}">
      <dgm:prSet/>
      <dgm:spPr/>
      <dgm:t>
        <a:bodyPr/>
        <a:lstStyle/>
        <a:p>
          <a:endParaRPr lang="ru-RU"/>
        </a:p>
      </dgm:t>
    </dgm:pt>
    <dgm:pt modelId="{BCBC90F9-88BD-4B6F-8D44-4E1D54357BD5}" type="sibTrans" cxnId="{1C133EE4-833E-4C98-9110-004768845458}">
      <dgm:prSet/>
      <dgm:spPr/>
      <dgm:t>
        <a:bodyPr/>
        <a:lstStyle/>
        <a:p>
          <a:endParaRPr lang="ru-RU"/>
        </a:p>
      </dgm:t>
    </dgm:pt>
    <dgm:pt modelId="{208378AE-FAEF-4F44-B311-2D60D3FD42E2}">
      <dgm:prSet phldrT="[Текст]" custT="1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ru-RU" sz="2800" dirty="0"/>
            <a:t>Создание нормативно-правовой базы </a:t>
          </a:r>
        </a:p>
      </dgm:t>
    </dgm:pt>
    <dgm:pt modelId="{62C2C280-D4AC-4300-A4E1-1D2499E45B68}" type="parTrans" cxnId="{C41A3014-C9A0-41EC-A8FC-D0A3DE617C14}">
      <dgm:prSet/>
      <dgm:spPr/>
      <dgm:t>
        <a:bodyPr/>
        <a:lstStyle/>
        <a:p>
          <a:endParaRPr lang="ru-RU"/>
        </a:p>
      </dgm:t>
    </dgm:pt>
    <dgm:pt modelId="{5C912FE7-A5A8-48C7-9AD2-F2CBDFC28B79}" type="sibTrans" cxnId="{C41A3014-C9A0-41EC-A8FC-D0A3DE617C14}">
      <dgm:prSet/>
      <dgm:spPr/>
      <dgm:t>
        <a:bodyPr/>
        <a:lstStyle/>
        <a:p>
          <a:endParaRPr lang="ru-RU"/>
        </a:p>
      </dgm:t>
    </dgm:pt>
    <dgm:pt modelId="{228563BF-6C5F-4669-8493-A3B54730849C}">
      <dgm:prSet phldrT="[Текст]" custT="1"/>
      <dgm:spPr>
        <a:solidFill>
          <a:srgbClr val="9D9DD7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3200" dirty="0"/>
            <a:t>2 ЭТАП </a:t>
          </a:r>
        </a:p>
      </dgm:t>
    </dgm:pt>
    <dgm:pt modelId="{8B2BD33F-3526-4BB8-9E0A-69706669237B}" type="parTrans" cxnId="{5BEF1DD4-E9E2-4579-8A2C-61B7E14A50A2}">
      <dgm:prSet/>
      <dgm:spPr/>
      <dgm:t>
        <a:bodyPr/>
        <a:lstStyle/>
        <a:p>
          <a:endParaRPr lang="ru-RU"/>
        </a:p>
      </dgm:t>
    </dgm:pt>
    <dgm:pt modelId="{B56E5042-14C6-439A-B643-04C3EE0BE56F}" type="sibTrans" cxnId="{5BEF1DD4-E9E2-4579-8A2C-61B7E14A50A2}">
      <dgm:prSet/>
      <dgm:spPr/>
      <dgm:t>
        <a:bodyPr/>
        <a:lstStyle/>
        <a:p>
          <a:endParaRPr lang="ru-RU"/>
        </a:p>
      </dgm:t>
    </dgm:pt>
    <dgm:pt modelId="{6396B743-8720-47B2-8207-9C141B557165}">
      <dgm:prSet phldrT="[Текст]" custT="1"/>
      <dgm:spPr>
        <a:solidFill>
          <a:srgbClr val="CDCDEB"/>
        </a:solidFill>
      </dgm:spPr>
      <dgm:t>
        <a:bodyPr/>
        <a:lstStyle/>
        <a:p>
          <a:r>
            <a:rPr lang="ru-RU" sz="2800" dirty="0"/>
            <a:t>Реинжиниринг процессов </a:t>
          </a:r>
        </a:p>
      </dgm:t>
    </dgm:pt>
    <dgm:pt modelId="{82B56D04-BB52-44CF-B266-1B26BA55AE1D}" type="parTrans" cxnId="{B297F0E0-CF63-43F0-B3BE-BBBF88820913}">
      <dgm:prSet/>
      <dgm:spPr/>
      <dgm:t>
        <a:bodyPr/>
        <a:lstStyle/>
        <a:p>
          <a:endParaRPr lang="ru-RU"/>
        </a:p>
      </dgm:t>
    </dgm:pt>
    <dgm:pt modelId="{24BE3F8E-733E-41D5-BFE1-08B4D7614C47}" type="sibTrans" cxnId="{B297F0E0-CF63-43F0-B3BE-BBBF88820913}">
      <dgm:prSet/>
      <dgm:spPr/>
      <dgm:t>
        <a:bodyPr/>
        <a:lstStyle/>
        <a:p>
          <a:endParaRPr lang="ru-RU"/>
        </a:p>
      </dgm:t>
    </dgm:pt>
    <dgm:pt modelId="{FF1B9D5C-ADE1-45C2-84A1-7F617E9093B8}">
      <dgm:prSet phldrT="[Текст]" custT="1"/>
      <dgm:spPr>
        <a:solidFill>
          <a:schemeClr val="accent2">
            <a:lumMod val="60000"/>
            <a:lumOff val="4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3200" dirty="0"/>
            <a:t>3 ЭТАП </a:t>
          </a:r>
        </a:p>
      </dgm:t>
    </dgm:pt>
    <dgm:pt modelId="{B24B8574-331C-4CE5-A4F1-A23DD4B23385}" type="parTrans" cxnId="{5D7EB0AF-D12D-4072-965D-C91FBE345163}">
      <dgm:prSet/>
      <dgm:spPr/>
      <dgm:t>
        <a:bodyPr/>
        <a:lstStyle/>
        <a:p>
          <a:endParaRPr lang="ru-RU"/>
        </a:p>
      </dgm:t>
    </dgm:pt>
    <dgm:pt modelId="{36E2BB82-B0FC-4FB3-B958-7EA2AE73E1A6}" type="sibTrans" cxnId="{5D7EB0AF-D12D-4072-965D-C91FBE345163}">
      <dgm:prSet/>
      <dgm:spPr/>
      <dgm:t>
        <a:bodyPr/>
        <a:lstStyle/>
        <a:p>
          <a:endParaRPr lang="ru-RU"/>
        </a:p>
      </dgm:t>
    </dgm:pt>
    <dgm:pt modelId="{C652BA59-4577-4A22-82A4-76860E3E9CFC}">
      <dgm:prSet phldrT="[Текст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2800" dirty="0"/>
            <a:t>Контроль за исполнением </a:t>
          </a:r>
        </a:p>
      </dgm:t>
    </dgm:pt>
    <dgm:pt modelId="{77B5E052-395B-4CFC-9F12-F43E3A6B2053}" type="parTrans" cxnId="{D5DFC016-6E41-426A-BEF1-C756E09F4DD2}">
      <dgm:prSet/>
      <dgm:spPr/>
      <dgm:t>
        <a:bodyPr/>
        <a:lstStyle/>
        <a:p>
          <a:endParaRPr lang="ru-RU"/>
        </a:p>
      </dgm:t>
    </dgm:pt>
    <dgm:pt modelId="{5E168C8C-4A0C-4AD8-8BF0-E722B882B141}" type="sibTrans" cxnId="{D5DFC016-6E41-426A-BEF1-C756E09F4DD2}">
      <dgm:prSet/>
      <dgm:spPr/>
      <dgm:t>
        <a:bodyPr/>
        <a:lstStyle/>
        <a:p>
          <a:endParaRPr lang="ru-RU"/>
        </a:p>
      </dgm:t>
    </dgm:pt>
    <dgm:pt modelId="{467E2164-0B79-4603-A318-0DF2CC7A0129}">
      <dgm:prSet phldrT="[Текст]" custT="1"/>
      <dgm:spPr>
        <a:solidFill>
          <a:srgbClr val="CDCDEB"/>
        </a:solidFill>
      </dgm:spPr>
      <dgm:t>
        <a:bodyPr/>
        <a:lstStyle/>
        <a:p>
          <a:r>
            <a:rPr lang="ru-RU" sz="2800" dirty="0"/>
            <a:t>Обучение подходам «Безбумажного управления»</a:t>
          </a:r>
        </a:p>
      </dgm:t>
    </dgm:pt>
    <dgm:pt modelId="{70D85537-88D7-4D04-9CD9-1B97F6153329}" type="parTrans" cxnId="{777FB944-1006-46C6-BEAE-C3A352F9F48A}">
      <dgm:prSet/>
      <dgm:spPr/>
      <dgm:t>
        <a:bodyPr/>
        <a:lstStyle/>
        <a:p>
          <a:endParaRPr lang="ru-RU"/>
        </a:p>
      </dgm:t>
    </dgm:pt>
    <dgm:pt modelId="{E31572B9-0AEC-435F-9DCA-2E19EF24FDB0}" type="sibTrans" cxnId="{777FB944-1006-46C6-BEAE-C3A352F9F48A}">
      <dgm:prSet/>
      <dgm:spPr/>
      <dgm:t>
        <a:bodyPr/>
        <a:lstStyle/>
        <a:p>
          <a:endParaRPr lang="ru-RU"/>
        </a:p>
      </dgm:t>
    </dgm:pt>
    <dgm:pt modelId="{701C7C28-93D7-4D85-9C4F-65E2A51B01DD}" type="pres">
      <dgm:prSet presAssocID="{D8B4119F-7DE0-40F0-9610-2028EA567050}" presName="rootnode" presStyleCnt="0">
        <dgm:presLayoutVars>
          <dgm:chMax/>
          <dgm:chPref/>
          <dgm:dir/>
          <dgm:animLvl val="lvl"/>
        </dgm:presLayoutVars>
      </dgm:prSet>
      <dgm:spPr/>
    </dgm:pt>
    <dgm:pt modelId="{89392127-BFA9-4515-BCF5-8895664E83E6}" type="pres">
      <dgm:prSet presAssocID="{EBAD3680-E04F-4246-865B-1AB79F4DA0B6}" presName="composite" presStyleCnt="0"/>
      <dgm:spPr/>
    </dgm:pt>
    <dgm:pt modelId="{53F1B3BD-6848-4869-AEC6-BB546FCA7141}" type="pres">
      <dgm:prSet presAssocID="{EBAD3680-E04F-4246-865B-1AB79F4DA0B6}" presName="bentUpArrow1" presStyleLbl="alignImgPlace1" presStyleIdx="0" presStyleCnt="2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</dgm:pt>
    <dgm:pt modelId="{B65185AC-D2F1-48A9-A15E-128FBD0D7EAE}" type="pres">
      <dgm:prSet presAssocID="{EBAD3680-E04F-4246-865B-1AB79F4DA0B6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5768A2EB-0F60-47A2-BEEE-33927806ABE9}" type="pres">
      <dgm:prSet presAssocID="{EBAD3680-E04F-4246-865B-1AB79F4DA0B6}" presName="ChildText" presStyleLbl="revTx" presStyleIdx="0" presStyleCnt="3" custScaleX="220432" custLinFactNeighborX="67494" custLinFactNeighborY="-2264">
        <dgm:presLayoutVars>
          <dgm:chMax val="0"/>
          <dgm:chPref val="0"/>
          <dgm:bulletEnabled val="1"/>
        </dgm:presLayoutVars>
      </dgm:prSet>
      <dgm:spPr/>
    </dgm:pt>
    <dgm:pt modelId="{55F75916-41D1-465A-806B-CFAE2B0DE16F}" type="pres">
      <dgm:prSet presAssocID="{BCBC90F9-88BD-4B6F-8D44-4E1D54357BD5}" presName="sibTrans" presStyleCnt="0"/>
      <dgm:spPr/>
    </dgm:pt>
    <dgm:pt modelId="{C151AE3A-641F-45B2-BDC5-64C9E9233F43}" type="pres">
      <dgm:prSet presAssocID="{228563BF-6C5F-4669-8493-A3B54730849C}" presName="composite" presStyleCnt="0"/>
      <dgm:spPr/>
    </dgm:pt>
    <dgm:pt modelId="{02830349-C8E3-4A76-82A0-3A7E06F2A49A}" type="pres">
      <dgm:prSet presAssocID="{228563BF-6C5F-4669-8493-A3B54730849C}" presName="bentUpArrow1" presStyleLbl="alignImgPlace1" presStyleIdx="1" presStyleCnt="2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</dgm:pt>
    <dgm:pt modelId="{5ED4D62E-FC66-4F4C-AC5A-FEF39CF45650}" type="pres">
      <dgm:prSet presAssocID="{228563BF-6C5F-4669-8493-A3B54730849C}" presName="ParentText" presStyleLbl="node1" presStyleIdx="1" presStyleCnt="3" custLinFactNeighborX="-19449" custLinFactNeighborY="-468">
        <dgm:presLayoutVars>
          <dgm:chMax val="1"/>
          <dgm:chPref val="1"/>
          <dgm:bulletEnabled val="1"/>
        </dgm:presLayoutVars>
      </dgm:prSet>
      <dgm:spPr/>
    </dgm:pt>
    <dgm:pt modelId="{909105BF-1AAA-4125-BD75-1160741DA157}" type="pres">
      <dgm:prSet presAssocID="{228563BF-6C5F-4669-8493-A3B54730849C}" presName="ChildText" presStyleLbl="revTx" presStyleIdx="1" presStyleCnt="3" custScaleX="259720" custLinFactNeighborX="66172" custLinFactNeighborY="-2788">
        <dgm:presLayoutVars>
          <dgm:chMax val="0"/>
          <dgm:chPref val="0"/>
          <dgm:bulletEnabled val="1"/>
        </dgm:presLayoutVars>
      </dgm:prSet>
      <dgm:spPr/>
    </dgm:pt>
    <dgm:pt modelId="{EF8C9547-F189-4ACD-8318-12514B01CD7C}" type="pres">
      <dgm:prSet presAssocID="{B56E5042-14C6-439A-B643-04C3EE0BE56F}" presName="sibTrans" presStyleCnt="0"/>
      <dgm:spPr/>
    </dgm:pt>
    <dgm:pt modelId="{BE1F7F3D-880E-49B5-8F51-D0D65B2939BE}" type="pres">
      <dgm:prSet presAssocID="{FF1B9D5C-ADE1-45C2-84A1-7F617E9093B8}" presName="composite" presStyleCnt="0"/>
      <dgm:spPr/>
    </dgm:pt>
    <dgm:pt modelId="{04CCFABC-4769-4E1F-B4DE-BAA2DB8DB906}" type="pres">
      <dgm:prSet presAssocID="{FF1B9D5C-ADE1-45C2-84A1-7F617E9093B8}" presName="ParentText" presStyleLbl="node1" presStyleIdx="2" presStyleCnt="3" custLinFactNeighborX="-28181" custLinFactNeighborY="1701">
        <dgm:presLayoutVars>
          <dgm:chMax val="1"/>
          <dgm:chPref val="1"/>
          <dgm:bulletEnabled val="1"/>
        </dgm:presLayoutVars>
      </dgm:prSet>
      <dgm:spPr/>
    </dgm:pt>
    <dgm:pt modelId="{75C23CCB-175A-4407-8FEC-AB4664F9C6C7}" type="pres">
      <dgm:prSet presAssocID="{FF1B9D5C-ADE1-45C2-84A1-7F617E9093B8}" presName="FinalChildText" presStyleLbl="revTx" presStyleIdx="2" presStyleCnt="3" custScaleX="168990" custLinFactNeighborX="46388">
        <dgm:presLayoutVars>
          <dgm:chMax val="0"/>
          <dgm:chPref val="0"/>
          <dgm:bulletEnabled val="1"/>
        </dgm:presLayoutVars>
      </dgm:prSet>
      <dgm:spPr/>
    </dgm:pt>
  </dgm:ptLst>
  <dgm:cxnLst>
    <dgm:cxn modelId="{BA1D2009-8D30-4747-9895-0B414DE99AC5}" type="presOf" srcId="{FF1B9D5C-ADE1-45C2-84A1-7F617E9093B8}" destId="{04CCFABC-4769-4E1F-B4DE-BAA2DB8DB906}" srcOrd="0" destOrd="0" presId="urn:microsoft.com/office/officeart/2005/8/layout/StepDownProcess"/>
    <dgm:cxn modelId="{C41A3014-C9A0-41EC-A8FC-D0A3DE617C14}" srcId="{EBAD3680-E04F-4246-865B-1AB79F4DA0B6}" destId="{208378AE-FAEF-4F44-B311-2D60D3FD42E2}" srcOrd="0" destOrd="0" parTransId="{62C2C280-D4AC-4300-A4E1-1D2499E45B68}" sibTransId="{5C912FE7-A5A8-48C7-9AD2-F2CBDFC28B79}"/>
    <dgm:cxn modelId="{D5DFC016-6E41-426A-BEF1-C756E09F4DD2}" srcId="{FF1B9D5C-ADE1-45C2-84A1-7F617E9093B8}" destId="{C652BA59-4577-4A22-82A4-76860E3E9CFC}" srcOrd="0" destOrd="0" parTransId="{77B5E052-395B-4CFC-9F12-F43E3A6B2053}" sibTransId="{5E168C8C-4A0C-4AD8-8BF0-E722B882B141}"/>
    <dgm:cxn modelId="{7EB3301D-4102-48E4-B5DB-6F5A0184748C}" type="presOf" srcId="{EBAD3680-E04F-4246-865B-1AB79F4DA0B6}" destId="{B65185AC-D2F1-48A9-A15E-128FBD0D7EAE}" srcOrd="0" destOrd="0" presId="urn:microsoft.com/office/officeart/2005/8/layout/StepDownProcess"/>
    <dgm:cxn modelId="{26362636-74A2-477D-BB1C-BEE8158668DE}" type="presOf" srcId="{467E2164-0B79-4603-A318-0DF2CC7A0129}" destId="{909105BF-1AAA-4125-BD75-1160741DA157}" srcOrd="0" destOrd="1" presId="urn:microsoft.com/office/officeart/2005/8/layout/StepDownProcess"/>
    <dgm:cxn modelId="{777FB944-1006-46C6-BEAE-C3A352F9F48A}" srcId="{228563BF-6C5F-4669-8493-A3B54730849C}" destId="{467E2164-0B79-4603-A318-0DF2CC7A0129}" srcOrd="1" destOrd="0" parTransId="{70D85537-88D7-4D04-9CD9-1B97F6153329}" sibTransId="{E31572B9-0AEC-435F-9DCA-2E19EF24FDB0}"/>
    <dgm:cxn modelId="{FB415EA5-7091-456A-AFE0-F2E4CF08CEE8}" type="presOf" srcId="{6396B743-8720-47B2-8207-9C141B557165}" destId="{909105BF-1AAA-4125-BD75-1160741DA157}" srcOrd="0" destOrd="0" presId="urn:microsoft.com/office/officeart/2005/8/layout/StepDownProcess"/>
    <dgm:cxn modelId="{5D7EB0AF-D12D-4072-965D-C91FBE345163}" srcId="{D8B4119F-7DE0-40F0-9610-2028EA567050}" destId="{FF1B9D5C-ADE1-45C2-84A1-7F617E9093B8}" srcOrd="2" destOrd="0" parTransId="{B24B8574-331C-4CE5-A4F1-A23DD4B23385}" sibTransId="{36E2BB82-B0FC-4FB3-B958-7EA2AE73E1A6}"/>
    <dgm:cxn modelId="{A8F53BB1-38D3-4373-BF2C-55F3D508ED35}" type="presOf" srcId="{208378AE-FAEF-4F44-B311-2D60D3FD42E2}" destId="{5768A2EB-0F60-47A2-BEEE-33927806ABE9}" srcOrd="0" destOrd="0" presId="urn:microsoft.com/office/officeart/2005/8/layout/StepDownProcess"/>
    <dgm:cxn modelId="{323EA6B2-21A5-4D7F-8225-2F392E36AAB4}" type="presOf" srcId="{D8B4119F-7DE0-40F0-9610-2028EA567050}" destId="{701C7C28-93D7-4D85-9C4F-65E2A51B01DD}" srcOrd="0" destOrd="0" presId="urn:microsoft.com/office/officeart/2005/8/layout/StepDownProcess"/>
    <dgm:cxn modelId="{5BEF1DD4-E9E2-4579-8A2C-61B7E14A50A2}" srcId="{D8B4119F-7DE0-40F0-9610-2028EA567050}" destId="{228563BF-6C5F-4669-8493-A3B54730849C}" srcOrd="1" destOrd="0" parTransId="{8B2BD33F-3526-4BB8-9E0A-69706669237B}" sibTransId="{B56E5042-14C6-439A-B643-04C3EE0BE56F}"/>
    <dgm:cxn modelId="{B297F0E0-CF63-43F0-B3BE-BBBF88820913}" srcId="{228563BF-6C5F-4669-8493-A3B54730849C}" destId="{6396B743-8720-47B2-8207-9C141B557165}" srcOrd="0" destOrd="0" parTransId="{82B56D04-BB52-44CF-B266-1B26BA55AE1D}" sibTransId="{24BE3F8E-733E-41D5-BFE1-08B4D7614C47}"/>
    <dgm:cxn modelId="{1C133EE4-833E-4C98-9110-004768845458}" srcId="{D8B4119F-7DE0-40F0-9610-2028EA567050}" destId="{EBAD3680-E04F-4246-865B-1AB79F4DA0B6}" srcOrd="0" destOrd="0" parTransId="{F966E53A-0AF3-41BB-96FE-C7E17297BBFB}" sibTransId="{BCBC90F9-88BD-4B6F-8D44-4E1D54357BD5}"/>
    <dgm:cxn modelId="{B6E128E7-31DF-4612-B916-72C0E62C63E3}" type="presOf" srcId="{228563BF-6C5F-4669-8493-A3B54730849C}" destId="{5ED4D62E-FC66-4F4C-AC5A-FEF39CF45650}" srcOrd="0" destOrd="0" presId="urn:microsoft.com/office/officeart/2005/8/layout/StepDownProcess"/>
    <dgm:cxn modelId="{4FD5A3E8-462C-4F57-AAD3-AE445E2C19B6}" type="presOf" srcId="{C652BA59-4577-4A22-82A4-76860E3E9CFC}" destId="{75C23CCB-175A-4407-8FEC-AB4664F9C6C7}" srcOrd="0" destOrd="0" presId="urn:microsoft.com/office/officeart/2005/8/layout/StepDownProcess"/>
    <dgm:cxn modelId="{A5CB765D-20B8-464F-9F3B-03065663594E}" type="presParOf" srcId="{701C7C28-93D7-4D85-9C4F-65E2A51B01DD}" destId="{89392127-BFA9-4515-BCF5-8895664E83E6}" srcOrd="0" destOrd="0" presId="urn:microsoft.com/office/officeart/2005/8/layout/StepDownProcess"/>
    <dgm:cxn modelId="{7AC079B6-52F6-4646-AFFA-37389E906FB1}" type="presParOf" srcId="{89392127-BFA9-4515-BCF5-8895664E83E6}" destId="{53F1B3BD-6848-4869-AEC6-BB546FCA7141}" srcOrd="0" destOrd="0" presId="urn:microsoft.com/office/officeart/2005/8/layout/StepDownProcess"/>
    <dgm:cxn modelId="{59F25862-C6DE-4579-9791-1BB900347E91}" type="presParOf" srcId="{89392127-BFA9-4515-BCF5-8895664E83E6}" destId="{B65185AC-D2F1-48A9-A15E-128FBD0D7EAE}" srcOrd="1" destOrd="0" presId="urn:microsoft.com/office/officeart/2005/8/layout/StepDownProcess"/>
    <dgm:cxn modelId="{CDD4D749-4E17-4302-AECB-048E83E44F3B}" type="presParOf" srcId="{89392127-BFA9-4515-BCF5-8895664E83E6}" destId="{5768A2EB-0F60-47A2-BEEE-33927806ABE9}" srcOrd="2" destOrd="0" presId="urn:microsoft.com/office/officeart/2005/8/layout/StepDownProcess"/>
    <dgm:cxn modelId="{F9061A5B-010A-4C96-BE09-3329E4A07BA7}" type="presParOf" srcId="{701C7C28-93D7-4D85-9C4F-65E2A51B01DD}" destId="{55F75916-41D1-465A-806B-CFAE2B0DE16F}" srcOrd="1" destOrd="0" presId="urn:microsoft.com/office/officeart/2005/8/layout/StepDownProcess"/>
    <dgm:cxn modelId="{D0A9C3C7-5A8C-4656-89E7-F42F673281A4}" type="presParOf" srcId="{701C7C28-93D7-4D85-9C4F-65E2A51B01DD}" destId="{C151AE3A-641F-45B2-BDC5-64C9E9233F43}" srcOrd="2" destOrd="0" presId="urn:microsoft.com/office/officeart/2005/8/layout/StepDownProcess"/>
    <dgm:cxn modelId="{09D6F30E-B36B-4846-8F94-1ABAFD805CEB}" type="presParOf" srcId="{C151AE3A-641F-45B2-BDC5-64C9E9233F43}" destId="{02830349-C8E3-4A76-82A0-3A7E06F2A49A}" srcOrd="0" destOrd="0" presId="urn:microsoft.com/office/officeart/2005/8/layout/StepDownProcess"/>
    <dgm:cxn modelId="{73EAF0D5-88A4-4D2F-8CA9-1356E843B4B6}" type="presParOf" srcId="{C151AE3A-641F-45B2-BDC5-64C9E9233F43}" destId="{5ED4D62E-FC66-4F4C-AC5A-FEF39CF45650}" srcOrd="1" destOrd="0" presId="urn:microsoft.com/office/officeart/2005/8/layout/StepDownProcess"/>
    <dgm:cxn modelId="{D7969B64-2745-4AF3-95DC-321FEC306311}" type="presParOf" srcId="{C151AE3A-641F-45B2-BDC5-64C9E9233F43}" destId="{909105BF-1AAA-4125-BD75-1160741DA157}" srcOrd="2" destOrd="0" presId="urn:microsoft.com/office/officeart/2005/8/layout/StepDownProcess"/>
    <dgm:cxn modelId="{95A945CC-E0BE-4391-A537-257126C13898}" type="presParOf" srcId="{701C7C28-93D7-4D85-9C4F-65E2A51B01DD}" destId="{EF8C9547-F189-4ACD-8318-12514B01CD7C}" srcOrd="3" destOrd="0" presId="urn:microsoft.com/office/officeart/2005/8/layout/StepDownProcess"/>
    <dgm:cxn modelId="{BC4A0EDE-C907-48CA-9E45-370A1D0798DB}" type="presParOf" srcId="{701C7C28-93D7-4D85-9C4F-65E2A51B01DD}" destId="{BE1F7F3D-880E-49B5-8F51-D0D65B2939BE}" srcOrd="4" destOrd="0" presId="urn:microsoft.com/office/officeart/2005/8/layout/StepDownProcess"/>
    <dgm:cxn modelId="{FC325F20-99A8-40C1-97A3-2922888DB724}" type="presParOf" srcId="{BE1F7F3D-880E-49B5-8F51-D0D65B2939BE}" destId="{04CCFABC-4769-4E1F-B4DE-BAA2DB8DB906}" srcOrd="0" destOrd="0" presId="urn:microsoft.com/office/officeart/2005/8/layout/StepDownProcess"/>
    <dgm:cxn modelId="{3C3ADCCC-6AED-48EE-A895-83FF8A8B1940}" type="presParOf" srcId="{BE1F7F3D-880E-49B5-8F51-D0D65B2939BE}" destId="{75C23CCB-175A-4407-8FEC-AB4664F9C6C7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1304FA-123D-467B-8A7F-D1D9F853E670}" type="doc">
      <dgm:prSet loTypeId="urn:microsoft.com/office/officeart/2005/8/layout/orgChart1" loCatId="hierarchy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C48F8B0-52EF-4364-944F-CFE7F2622399}">
      <dgm:prSet phldrT="[Текст]" custT="1"/>
      <dgm:spPr>
        <a:solidFill>
          <a:srgbClr val="C00000"/>
        </a:solidFill>
      </dgm:spPr>
      <dgm:t>
        <a:bodyPr/>
        <a:lstStyle/>
        <a:p>
          <a:r>
            <a:rPr lang="ru-RU" sz="2400" dirty="0"/>
            <a:t>Обращение</a:t>
          </a:r>
          <a:r>
            <a:rPr lang="ru-RU" sz="2900" dirty="0"/>
            <a:t>  </a:t>
          </a:r>
        </a:p>
      </dgm:t>
    </dgm:pt>
    <dgm:pt modelId="{25A8CA7D-FFCC-4E91-BB6E-2DFD0395D795}" type="parTrans" cxnId="{8CBBED40-7C6F-4E2A-901C-BA8AC1C0D054}">
      <dgm:prSet/>
      <dgm:spPr/>
      <dgm:t>
        <a:bodyPr/>
        <a:lstStyle/>
        <a:p>
          <a:endParaRPr lang="ru-RU"/>
        </a:p>
      </dgm:t>
    </dgm:pt>
    <dgm:pt modelId="{13CCB663-7F8E-4EF0-B348-C3112ACD63CE}" type="sibTrans" cxnId="{8CBBED40-7C6F-4E2A-901C-BA8AC1C0D054}">
      <dgm:prSet/>
      <dgm:spPr/>
      <dgm:t>
        <a:bodyPr/>
        <a:lstStyle/>
        <a:p>
          <a:endParaRPr lang="ru-RU"/>
        </a:p>
      </dgm:t>
    </dgm:pt>
    <dgm:pt modelId="{DBCC19AE-9578-4314-BE29-F3B0D030D416}" type="asst">
      <dgm:prSet phldrT="[Текст]" custT="1"/>
      <dgm:spPr>
        <a:solidFill>
          <a:srgbClr val="423D67"/>
        </a:solidFill>
      </dgm:spPr>
      <dgm:t>
        <a:bodyPr/>
        <a:lstStyle/>
        <a:p>
          <a:r>
            <a:rPr lang="ru-RU" sz="2000" dirty="0"/>
            <a:t>Банк Рособрнадзора  </a:t>
          </a:r>
        </a:p>
      </dgm:t>
    </dgm:pt>
    <dgm:pt modelId="{D05F1692-8A50-4DB8-815E-51BAFBF0D96C}" type="parTrans" cxnId="{7F935546-D729-41A7-9534-39794537493A}">
      <dgm:prSet/>
      <dgm:spPr/>
      <dgm:t>
        <a:bodyPr/>
        <a:lstStyle/>
        <a:p>
          <a:endParaRPr lang="ru-RU"/>
        </a:p>
      </dgm:t>
    </dgm:pt>
    <dgm:pt modelId="{4D718E4F-7D76-4F0F-B75C-730A79F7B9B1}" type="sibTrans" cxnId="{7F935546-D729-41A7-9534-39794537493A}">
      <dgm:prSet/>
      <dgm:spPr/>
      <dgm:t>
        <a:bodyPr/>
        <a:lstStyle/>
        <a:p>
          <a:endParaRPr lang="ru-RU"/>
        </a:p>
      </dgm:t>
    </dgm:pt>
    <dgm:pt modelId="{6CAD160B-12D0-44CE-817D-17D09FE9E5FE}">
      <dgm:prSet phldrT="[Текст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000" dirty="0"/>
            <a:t>Сортировка по темам </a:t>
          </a:r>
        </a:p>
      </dgm:t>
    </dgm:pt>
    <dgm:pt modelId="{FA772B73-5668-45F7-878B-ED470B43D261}" type="parTrans" cxnId="{D04E0EA5-D193-4889-9315-B45B4A444738}">
      <dgm:prSet/>
      <dgm:spPr/>
      <dgm:t>
        <a:bodyPr/>
        <a:lstStyle/>
        <a:p>
          <a:endParaRPr lang="ru-RU"/>
        </a:p>
      </dgm:t>
    </dgm:pt>
    <dgm:pt modelId="{098F0283-5D05-49BC-8ADD-CFF0A1DD3BC7}" type="sibTrans" cxnId="{D04E0EA5-D193-4889-9315-B45B4A444738}">
      <dgm:prSet/>
      <dgm:spPr/>
      <dgm:t>
        <a:bodyPr/>
        <a:lstStyle/>
        <a:p>
          <a:endParaRPr lang="ru-RU"/>
        </a:p>
      </dgm:t>
    </dgm:pt>
    <dgm:pt modelId="{CFBB3AB1-09D8-4075-877E-731A8AC58446}">
      <dgm:prSet phldrT="[Текст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000" dirty="0"/>
            <a:t>Сортировка по регионам </a:t>
          </a:r>
        </a:p>
      </dgm:t>
    </dgm:pt>
    <dgm:pt modelId="{A723FD2B-5216-4461-B471-80BEEB63C6D2}" type="parTrans" cxnId="{600F78F6-6B6E-430A-878B-EED5B364ABB6}">
      <dgm:prSet/>
      <dgm:spPr/>
      <dgm:t>
        <a:bodyPr/>
        <a:lstStyle/>
        <a:p>
          <a:endParaRPr lang="ru-RU"/>
        </a:p>
      </dgm:t>
    </dgm:pt>
    <dgm:pt modelId="{60DB055F-838A-42B5-802D-F8749B236C6B}" type="sibTrans" cxnId="{600F78F6-6B6E-430A-878B-EED5B364ABB6}">
      <dgm:prSet/>
      <dgm:spPr/>
      <dgm:t>
        <a:bodyPr/>
        <a:lstStyle/>
        <a:p>
          <a:endParaRPr lang="ru-RU"/>
        </a:p>
      </dgm:t>
    </dgm:pt>
    <dgm:pt modelId="{EE989A2F-18BA-4CE2-A2B8-2AE36B5A9609}">
      <dgm:prSet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000" dirty="0"/>
            <a:t>Ответы на вопросы </a:t>
          </a:r>
        </a:p>
      </dgm:t>
    </dgm:pt>
    <dgm:pt modelId="{5FFE8B39-3A68-488A-A82C-DF857E03445D}" type="parTrans" cxnId="{B364636A-E4C6-4A78-A4FB-53FC0E2CA34F}">
      <dgm:prSet/>
      <dgm:spPr/>
      <dgm:t>
        <a:bodyPr/>
        <a:lstStyle/>
        <a:p>
          <a:endParaRPr lang="ru-RU"/>
        </a:p>
      </dgm:t>
    </dgm:pt>
    <dgm:pt modelId="{5F2E253E-FF20-4D23-A3F5-BE2118B76855}" type="sibTrans" cxnId="{B364636A-E4C6-4A78-A4FB-53FC0E2CA34F}">
      <dgm:prSet/>
      <dgm:spPr/>
      <dgm:t>
        <a:bodyPr/>
        <a:lstStyle/>
        <a:p>
          <a:endParaRPr lang="ru-RU"/>
        </a:p>
      </dgm:t>
    </dgm:pt>
    <dgm:pt modelId="{36C4071E-8F64-460A-A0C8-F111C34DC63F}">
      <dgm:prSet custT="1"/>
      <dgm:spPr>
        <a:solidFill>
          <a:srgbClr val="423D67"/>
        </a:solidFill>
      </dgm:spPr>
      <dgm:t>
        <a:bodyPr/>
        <a:lstStyle/>
        <a:p>
          <a:r>
            <a:rPr lang="ru-RU" sz="2000" dirty="0"/>
            <a:t>Контроль результата </a:t>
          </a:r>
        </a:p>
      </dgm:t>
    </dgm:pt>
    <dgm:pt modelId="{385E05AC-E181-409B-BF31-E46F44AB9764}" type="parTrans" cxnId="{5AFAACB3-3385-4282-8D86-8603BE76912A}">
      <dgm:prSet/>
      <dgm:spPr/>
      <dgm:t>
        <a:bodyPr/>
        <a:lstStyle/>
        <a:p>
          <a:endParaRPr lang="ru-RU"/>
        </a:p>
      </dgm:t>
    </dgm:pt>
    <dgm:pt modelId="{982DE54B-4512-4D7E-B909-8024789E19AE}" type="sibTrans" cxnId="{5AFAACB3-3385-4282-8D86-8603BE76912A}">
      <dgm:prSet/>
      <dgm:spPr/>
      <dgm:t>
        <a:bodyPr/>
        <a:lstStyle/>
        <a:p>
          <a:endParaRPr lang="ru-RU"/>
        </a:p>
      </dgm:t>
    </dgm:pt>
    <dgm:pt modelId="{0252DAB3-430C-4F48-BF02-A5B04EE9EC23}">
      <dgm:prSet custT="1"/>
      <dgm:spPr>
        <a:solidFill>
          <a:srgbClr val="C00000"/>
        </a:solidFill>
      </dgm:spPr>
      <dgm:t>
        <a:bodyPr/>
        <a:lstStyle/>
        <a:p>
          <a:r>
            <a:rPr lang="ru-RU" sz="2000" dirty="0"/>
            <a:t>Проблема не решена </a:t>
          </a:r>
        </a:p>
      </dgm:t>
    </dgm:pt>
    <dgm:pt modelId="{E5BE86AE-8108-4A9E-A4F6-E5DDF7E5BC65}" type="parTrans" cxnId="{EF718004-78EE-4080-941C-50553FBC564D}">
      <dgm:prSet/>
      <dgm:spPr/>
      <dgm:t>
        <a:bodyPr/>
        <a:lstStyle/>
        <a:p>
          <a:endParaRPr lang="ru-RU"/>
        </a:p>
      </dgm:t>
    </dgm:pt>
    <dgm:pt modelId="{AE0B541B-2619-46FC-967D-4B65C03B07D1}" type="sibTrans" cxnId="{EF718004-78EE-4080-941C-50553FBC564D}">
      <dgm:prSet/>
      <dgm:spPr/>
      <dgm:t>
        <a:bodyPr/>
        <a:lstStyle/>
        <a:p>
          <a:endParaRPr lang="ru-RU"/>
        </a:p>
      </dgm:t>
    </dgm:pt>
    <dgm:pt modelId="{0DD4178D-18E7-432F-B913-CC5E8674AD85}">
      <dgm:prSet custT="1"/>
      <dgm:spPr>
        <a:solidFill>
          <a:srgbClr val="423D67"/>
        </a:solidFill>
      </dgm:spPr>
      <dgm:t>
        <a:bodyPr/>
        <a:lstStyle/>
        <a:p>
          <a:r>
            <a:rPr lang="ru-RU" sz="2000" dirty="0"/>
            <a:t>Рособрнадзор </a:t>
          </a:r>
        </a:p>
      </dgm:t>
    </dgm:pt>
    <dgm:pt modelId="{AACBB2E2-4B84-480F-A1D0-D0F5E9E0867B}" type="parTrans" cxnId="{C857907C-B102-498D-BAAC-B61BE345E243}">
      <dgm:prSet/>
      <dgm:spPr/>
      <dgm:t>
        <a:bodyPr/>
        <a:lstStyle/>
        <a:p>
          <a:endParaRPr lang="ru-RU"/>
        </a:p>
      </dgm:t>
    </dgm:pt>
    <dgm:pt modelId="{3AD723F3-7002-4214-B642-A754D999B3BA}" type="sibTrans" cxnId="{C857907C-B102-498D-BAAC-B61BE345E243}">
      <dgm:prSet/>
      <dgm:spPr/>
      <dgm:t>
        <a:bodyPr/>
        <a:lstStyle/>
        <a:p>
          <a:endParaRPr lang="ru-RU"/>
        </a:p>
      </dgm:t>
    </dgm:pt>
    <dgm:pt modelId="{02F2A4EB-4134-4525-9795-B914F2CCA05B}">
      <dgm:prSet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000" dirty="0">
              <a:solidFill>
                <a:schemeClr val="bg1"/>
              </a:solidFill>
            </a:rPr>
            <a:t>Отправка в РОИВ</a:t>
          </a:r>
        </a:p>
      </dgm:t>
    </dgm:pt>
    <dgm:pt modelId="{7C1C6CF0-9238-48EB-9D41-4FAC89FF9246}" type="parTrans" cxnId="{F25E9AB4-DEC3-4897-A86F-FC26E70B001E}">
      <dgm:prSet/>
      <dgm:spPr/>
      <dgm:t>
        <a:bodyPr/>
        <a:lstStyle/>
        <a:p>
          <a:endParaRPr lang="ru-RU"/>
        </a:p>
      </dgm:t>
    </dgm:pt>
    <dgm:pt modelId="{EDC2F427-B4FE-43AB-AA31-438D9BDCB108}" type="sibTrans" cxnId="{F25E9AB4-DEC3-4897-A86F-FC26E70B001E}">
      <dgm:prSet/>
      <dgm:spPr/>
      <dgm:t>
        <a:bodyPr/>
        <a:lstStyle/>
        <a:p>
          <a:endParaRPr lang="ru-RU"/>
        </a:p>
      </dgm:t>
    </dgm:pt>
    <dgm:pt modelId="{0FDEFAFA-3D51-4BD8-B991-61B9BA093C41}">
      <dgm:prSet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000" dirty="0"/>
            <a:t>Решение проблем</a:t>
          </a:r>
        </a:p>
      </dgm:t>
    </dgm:pt>
    <dgm:pt modelId="{9E348AEA-2B1F-4D46-91B1-431887E31C18}" type="parTrans" cxnId="{A290F6C2-843F-44EF-845D-9D0AD4B9C040}">
      <dgm:prSet/>
      <dgm:spPr/>
      <dgm:t>
        <a:bodyPr/>
        <a:lstStyle/>
        <a:p>
          <a:endParaRPr lang="ru-RU"/>
        </a:p>
      </dgm:t>
    </dgm:pt>
    <dgm:pt modelId="{9B9791F7-9100-472B-AAB7-49763E45A5A6}" type="sibTrans" cxnId="{A290F6C2-843F-44EF-845D-9D0AD4B9C040}">
      <dgm:prSet/>
      <dgm:spPr/>
      <dgm:t>
        <a:bodyPr/>
        <a:lstStyle/>
        <a:p>
          <a:endParaRPr lang="ru-RU"/>
        </a:p>
      </dgm:t>
    </dgm:pt>
    <dgm:pt modelId="{FAEDAEE8-2FB0-4C9E-B12D-39FD2EEA09AB}" type="pres">
      <dgm:prSet presAssocID="{961304FA-123D-467B-8A7F-D1D9F853E67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227E2903-0E8F-44B6-B45E-C7A92EDE3795}" type="pres">
      <dgm:prSet presAssocID="{3C48F8B0-52EF-4364-944F-CFE7F2622399}" presName="hierRoot1" presStyleCnt="0">
        <dgm:presLayoutVars>
          <dgm:hierBranch val="init"/>
        </dgm:presLayoutVars>
      </dgm:prSet>
      <dgm:spPr/>
    </dgm:pt>
    <dgm:pt modelId="{E736A252-BDCC-4156-833E-1ADCC0B0E53A}" type="pres">
      <dgm:prSet presAssocID="{3C48F8B0-52EF-4364-944F-CFE7F2622399}" presName="rootComposite1" presStyleCnt="0"/>
      <dgm:spPr/>
    </dgm:pt>
    <dgm:pt modelId="{94B9A4D9-1915-4C2A-B50E-452B88CD8BAD}" type="pres">
      <dgm:prSet presAssocID="{3C48F8B0-52EF-4364-944F-CFE7F2622399}" presName="rootText1" presStyleLbl="node0" presStyleIdx="0" presStyleCnt="1" custScaleX="171750">
        <dgm:presLayoutVars>
          <dgm:chPref val="3"/>
        </dgm:presLayoutVars>
      </dgm:prSet>
      <dgm:spPr/>
    </dgm:pt>
    <dgm:pt modelId="{4104D8D5-DC8B-4360-AD23-E1678AA7A6EA}" type="pres">
      <dgm:prSet presAssocID="{3C48F8B0-52EF-4364-944F-CFE7F2622399}" presName="rootConnector1" presStyleLbl="node1" presStyleIdx="0" presStyleCnt="0"/>
      <dgm:spPr/>
    </dgm:pt>
    <dgm:pt modelId="{DE4FFE11-C073-4327-996D-7BFB464C45A4}" type="pres">
      <dgm:prSet presAssocID="{3C48F8B0-52EF-4364-944F-CFE7F2622399}" presName="hierChild2" presStyleCnt="0"/>
      <dgm:spPr/>
    </dgm:pt>
    <dgm:pt modelId="{21C9AE70-6F56-4D63-AD53-852F83FAA370}" type="pres">
      <dgm:prSet presAssocID="{FA772B73-5668-45F7-878B-ED470B43D261}" presName="Name37" presStyleLbl="parChTrans1D2" presStyleIdx="0" presStyleCnt="3"/>
      <dgm:spPr/>
    </dgm:pt>
    <dgm:pt modelId="{67E46A76-1A2A-4CB6-B2BB-CBE9ECD34587}" type="pres">
      <dgm:prSet presAssocID="{6CAD160B-12D0-44CE-817D-17D09FE9E5FE}" presName="hierRoot2" presStyleCnt="0">
        <dgm:presLayoutVars>
          <dgm:hierBranch val="init"/>
        </dgm:presLayoutVars>
      </dgm:prSet>
      <dgm:spPr/>
    </dgm:pt>
    <dgm:pt modelId="{4D93DCD1-B708-41D6-89A8-DE93B407755D}" type="pres">
      <dgm:prSet presAssocID="{6CAD160B-12D0-44CE-817D-17D09FE9E5FE}" presName="rootComposite" presStyleCnt="0"/>
      <dgm:spPr/>
    </dgm:pt>
    <dgm:pt modelId="{E7A71232-DD6C-4471-B3C7-8D8DFC7D5D20}" type="pres">
      <dgm:prSet presAssocID="{6CAD160B-12D0-44CE-817D-17D09FE9E5FE}" presName="rootText" presStyleLbl="node2" presStyleIdx="0" presStyleCnt="2" custScaleX="184479">
        <dgm:presLayoutVars>
          <dgm:chPref val="3"/>
        </dgm:presLayoutVars>
      </dgm:prSet>
      <dgm:spPr/>
    </dgm:pt>
    <dgm:pt modelId="{9AD62792-9753-49EC-B2EE-C0F764575949}" type="pres">
      <dgm:prSet presAssocID="{6CAD160B-12D0-44CE-817D-17D09FE9E5FE}" presName="rootConnector" presStyleLbl="node2" presStyleIdx="0" presStyleCnt="2"/>
      <dgm:spPr/>
    </dgm:pt>
    <dgm:pt modelId="{524184FC-9F10-4331-BB96-40FE47308F21}" type="pres">
      <dgm:prSet presAssocID="{6CAD160B-12D0-44CE-817D-17D09FE9E5FE}" presName="hierChild4" presStyleCnt="0"/>
      <dgm:spPr/>
    </dgm:pt>
    <dgm:pt modelId="{92542CF4-1C13-46E5-96BF-1B4D2BAF8379}" type="pres">
      <dgm:prSet presAssocID="{6CAD160B-12D0-44CE-817D-17D09FE9E5FE}" presName="hierChild5" presStyleCnt="0"/>
      <dgm:spPr/>
    </dgm:pt>
    <dgm:pt modelId="{31D95A8F-A472-4EC6-B94B-D9918AA44C20}" type="pres">
      <dgm:prSet presAssocID="{A723FD2B-5216-4461-B471-80BEEB63C6D2}" presName="Name37" presStyleLbl="parChTrans1D2" presStyleIdx="1" presStyleCnt="3"/>
      <dgm:spPr/>
    </dgm:pt>
    <dgm:pt modelId="{EF658EDF-970F-44AF-A65D-9D6ED29FA349}" type="pres">
      <dgm:prSet presAssocID="{CFBB3AB1-09D8-4075-877E-731A8AC58446}" presName="hierRoot2" presStyleCnt="0">
        <dgm:presLayoutVars>
          <dgm:hierBranch val="init"/>
        </dgm:presLayoutVars>
      </dgm:prSet>
      <dgm:spPr/>
    </dgm:pt>
    <dgm:pt modelId="{C1FBE83C-FCD9-4957-A9C7-79E5D961AB48}" type="pres">
      <dgm:prSet presAssocID="{CFBB3AB1-09D8-4075-877E-731A8AC58446}" presName="rootComposite" presStyleCnt="0"/>
      <dgm:spPr/>
    </dgm:pt>
    <dgm:pt modelId="{5DC74452-57DD-4D4C-A33A-7915B1B5A127}" type="pres">
      <dgm:prSet presAssocID="{CFBB3AB1-09D8-4075-877E-731A8AC58446}" presName="rootText" presStyleLbl="node2" presStyleIdx="1" presStyleCnt="2" custScaleX="180546">
        <dgm:presLayoutVars>
          <dgm:chPref val="3"/>
        </dgm:presLayoutVars>
      </dgm:prSet>
      <dgm:spPr/>
    </dgm:pt>
    <dgm:pt modelId="{38F0DDE9-6595-42FA-9C4C-A6D181708CC8}" type="pres">
      <dgm:prSet presAssocID="{CFBB3AB1-09D8-4075-877E-731A8AC58446}" presName="rootConnector" presStyleLbl="node2" presStyleIdx="1" presStyleCnt="2"/>
      <dgm:spPr/>
    </dgm:pt>
    <dgm:pt modelId="{6B875C3B-0C14-4EF4-9031-40ECBFE907AE}" type="pres">
      <dgm:prSet presAssocID="{CFBB3AB1-09D8-4075-877E-731A8AC58446}" presName="hierChild4" presStyleCnt="0"/>
      <dgm:spPr/>
    </dgm:pt>
    <dgm:pt modelId="{A5D0916D-72EA-4C83-BBCE-AFA27E4BFEB2}" type="pres">
      <dgm:prSet presAssocID="{7C1C6CF0-9238-48EB-9D41-4FAC89FF9246}" presName="Name37" presStyleLbl="parChTrans1D3" presStyleIdx="0" presStyleCnt="1"/>
      <dgm:spPr/>
    </dgm:pt>
    <dgm:pt modelId="{EBC15B21-33F8-42AA-81CA-7DB9107C42E1}" type="pres">
      <dgm:prSet presAssocID="{02F2A4EB-4134-4525-9795-B914F2CCA05B}" presName="hierRoot2" presStyleCnt="0">
        <dgm:presLayoutVars>
          <dgm:hierBranch val="init"/>
        </dgm:presLayoutVars>
      </dgm:prSet>
      <dgm:spPr/>
    </dgm:pt>
    <dgm:pt modelId="{C0C78037-BBE6-4663-A1F1-676058265DBA}" type="pres">
      <dgm:prSet presAssocID="{02F2A4EB-4134-4525-9795-B914F2CCA05B}" presName="rootComposite" presStyleCnt="0"/>
      <dgm:spPr/>
    </dgm:pt>
    <dgm:pt modelId="{29B5FF19-06A1-4E2D-BC22-F9BA8CD5D3FD}" type="pres">
      <dgm:prSet presAssocID="{02F2A4EB-4134-4525-9795-B914F2CCA05B}" presName="rootText" presStyleLbl="node3" presStyleIdx="0" presStyleCnt="1" custScaleX="180221">
        <dgm:presLayoutVars>
          <dgm:chPref val="3"/>
        </dgm:presLayoutVars>
      </dgm:prSet>
      <dgm:spPr/>
    </dgm:pt>
    <dgm:pt modelId="{098C0352-7902-4FDF-B989-F6E921E4EB1E}" type="pres">
      <dgm:prSet presAssocID="{02F2A4EB-4134-4525-9795-B914F2CCA05B}" presName="rootConnector" presStyleLbl="node3" presStyleIdx="0" presStyleCnt="1"/>
      <dgm:spPr/>
    </dgm:pt>
    <dgm:pt modelId="{F2738200-820E-4240-8F2D-7A97972F272F}" type="pres">
      <dgm:prSet presAssocID="{02F2A4EB-4134-4525-9795-B914F2CCA05B}" presName="hierChild4" presStyleCnt="0"/>
      <dgm:spPr/>
    </dgm:pt>
    <dgm:pt modelId="{2A2A3F54-2B77-4E2B-B001-2D8C0E2304DE}" type="pres">
      <dgm:prSet presAssocID="{5FFE8B39-3A68-488A-A82C-DF857E03445D}" presName="Name37" presStyleLbl="parChTrans1D4" presStyleIdx="0" presStyleCnt="5"/>
      <dgm:spPr/>
    </dgm:pt>
    <dgm:pt modelId="{63EDB987-C4F9-47F7-8EBF-8C6B69E05CCA}" type="pres">
      <dgm:prSet presAssocID="{EE989A2F-18BA-4CE2-A2B8-2AE36B5A9609}" presName="hierRoot2" presStyleCnt="0">
        <dgm:presLayoutVars>
          <dgm:hierBranch val="init"/>
        </dgm:presLayoutVars>
      </dgm:prSet>
      <dgm:spPr/>
    </dgm:pt>
    <dgm:pt modelId="{9C8C1180-A738-4089-B1B3-7BDD0EA63212}" type="pres">
      <dgm:prSet presAssocID="{EE989A2F-18BA-4CE2-A2B8-2AE36B5A9609}" presName="rootComposite" presStyleCnt="0"/>
      <dgm:spPr/>
    </dgm:pt>
    <dgm:pt modelId="{08F8D1A6-84B4-4446-A759-18A42B149263}" type="pres">
      <dgm:prSet presAssocID="{EE989A2F-18BA-4CE2-A2B8-2AE36B5A9609}" presName="rootText" presStyleLbl="node4" presStyleIdx="0" presStyleCnt="5" custScaleX="180546">
        <dgm:presLayoutVars>
          <dgm:chPref val="3"/>
        </dgm:presLayoutVars>
      </dgm:prSet>
      <dgm:spPr/>
    </dgm:pt>
    <dgm:pt modelId="{2C7466C9-4999-4ABA-B8DC-278D7DE988E1}" type="pres">
      <dgm:prSet presAssocID="{EE989A2F-18BA-4CE2-A2B8-2AE36B5A9609}" presName="rootConnector" presStyleLbl="node4" presStyleIdx="0" presStyleCnt="5"/>
      <dgm:spPr/>
    </dgm:pt>
    <dgm:pt modelId="{119E49DE-2E2D-469A-B16A-986D3F1D6A74}" type="pres">
      <dgm:prSet presAssocID="{EE989A2F-18BA-4CE2-A2B8-2AE36B5A9609}" presName="hierChild4" presStyleCnt="0"/>
      <dgm:spPr/>
    </dgm:pt>
    <dgm:pt modelId="{79CF3D7B-C06D-44AC-AF63-AD87675593F6}" type="pres">
      <dgm:prSet presAssocID="{385E05AC-E181-409B-BF31-E46F44AB9764}" presName="Name37" presStyleLbl="parChTrans1D4" presStyleIdx="1" presStyleCnt="5"/>
      <dgm:spPr/>
    </dgm:pt>
    <dgm:pt modelId="{4030F730-F1C6-4D9D-86A8-72F9427B250F}" type="pres">
      <dgm:prSet presAssocID="{36C4071E-8F64-460A-A0C8-F111C34DC63F}" presName="hierRoot2" presStyleCnt="0">
        <dgm:presLayoutVars>
          <dgm:hierBranch val="init"/>
        </dgm:presLayoutVars>
      </dgm:prSet>
      <dgm:spPr/>
    </dgm:pt>
    <dgm:pt modelId="{CF0DDB7B-0E6A-4689-B191-D1D7BD186402}" type="pres">
      <dgm:prSet presAssocID="{36C4071E-8F64-460A-A0C8-F111C34DC63F}" presName="rootComposite" presStyleCnt="0"/>
      <dgm:spPr/>
    </dgm:pt>
    <dgm:pt modelId="{555970C1-F91D-4BEA-B57E-55A366F41967}" type="pres">
      <dgm:prSet presAssocID="{36C4071E-8F64-460A-A0C8-F111C34DC63F}" presName="rootText" presStyleLbl="node4" presStyleIdx="1" presStyleCnt="5" custScaleX="180546">
        <dgm:presLayoutVars>
          <dgm:chPref val="3"/>
        </dgm:presLayoutVars>
      </dgm:prSet>
      <dgm:spPr/>
    </dgm:pt>
    <dgm:pt modelId="{07703635-4DF5-41DF-A785-F73CB6E4D226}" type="pres">
      <dgm:prSet presAssocID="{36C4071E-8F64-460A-A0C8-F111C34DC63F}" presName="rootConnector" presStyleLbl="node4" presStyleIdx="1" presStyleCnt="5"/>
      <dgm:spPr/>
    </dgm:pt>
    <dgm:pt modelId="{1D07D33D-2234-4180-90B6-F4B6278341BD}" type="pres">
      <dgm:prSet presAssocID="{36C4071E-8F64-460A-A0C8-F111C34DC63F}" presName="hierChild4" presStyleCnt="0"/>
      <dgm:spPr/>
    </dgm:pt>
    <dgm:pt modelId="{33227BA0-D4A8-4B16-B356-887C116FEC3A}" type="pres">
      <dgm:prSet presAssocID="{E5BE86AE-8108-4A9E-A4F6-E5DDF7E5BC65}" presName="Name37" presStyleLbl="parChTrans1D4" presStyleIdx="2" presStyleCnt="5"/>
      <dgm:spPr/>
    </dgm:pt>
    <dgm:pt modelId="{4E7CE246-A7D0-48BE-8AF5-0620C3A311EA}" type="pres">
      <dgm:prSet presAssocID="{0252DAB3-430C-4F48-BF02-A5B04EE9EC23}" presName="hierRoot2" presStyleCnt="0">
        <dgm:presLayoutVars>
          <dgm:hierBranch val="init"/>
        </dgm:presLayoutVars>
      </dgm:prSet>
      <dgm:spPr/>
    </dgm:pt>
    <dgm:pt modelId="{954D01BD-D384-4A80-B2B2-D53C9C6A5258}" type="pres">
      <dgm:prSet presAssocID="{0252DAB3-430C-4F48-BF02-A5B04EE9EC23}" presName="rootComposite" presStyleCnt="0"/>
      <dgm:spPr/>
    </dgm:pt>
    <dgm:pt modelId="{3FF1D505-F108-44CF-B2D4-9F98D796A4D0}" type="pres">
      <dgm:prSet presAssocID="{0252DAB3-430C-4F48-BF02-A5B04EE9EC23}" presName="rootText" presStyleLbl="node4" presStyleIdx="2" presStyleCnt="5" custScaleX="180546">
        <dgm:presLayoutVars>
          <dgm:chPref val="3"/>
        </dgm:presLayoutVars>
      </dgm:prSet>
      <dgm:spPr/>
    </dgm:pt>
    <dgm:pt modelId="{5A1BAC47-8D16-4FD5-8D0A-BF9C1FDC22C9}" type="pres">
      <dgm:prSet presAssocID="{0252DAB3-430C-4F48-BF02-A5B04EE9EC23}" presName="rootConnector" presStyleLbl="node4" presStyleIdx="2" presStyleCnt="5"/>
      <dgm:spPr/>
    </dgm:pt>
    <dgm:pt modelId="{E3454E01-0C05-4308-A0AF-AA68E8086BAF}" type="pres">
      <dgm:prSet presAssocID="{0252DAB3-430C-4F48-BF02-A5B04EE9EC23}" presName="hierChild4" presStyleCnt="0"/>
      <dgm:spPr/>
    </dgm:pt>
    <dgm:pt modelId="{A407D757-7DAA-49BC-A28A-32088A4E6740}" type="pres">
      <dgm:prSet presAssocID="{AACBB2E2-4B84-480F-A1D0-D0F5E9E0867B}" presName="Name37" presStyleLbl="parChTrans1D4" presStyleIdx="3" presStyleCnt="5"/>
      <dgm:spPr/>
    </dgm:pt>
    <dgm:pt modelId="{CE22FF57-264B-4A9D-9C62-913969710ACF}" type="pres">
      <dgm:prSet presAssocID="{0DD4178D-18E7-432F-B913-CC5E8674AD85}" presName="hierRoot2" presStyleCnt="0">
        <dgm:presLayoutVars>
          <dgm:hierBranch val="init"/>
        </dgm:presLayoutVars>
      </dgm:prSet>
      <dgm:spPr/>
    </dgm:pt>
    <dgm:pt modelId="{855AD13B-34DC-48C2-8B0B-E726A4F63701}" type="pres">
      <dgm:prSet presAssocID="{0DD4178D-18E7-432F-B913-CC5E8674AD85}" presName="rootComposite" presStyleCnt="0"/>
      <dgm:spPr/>
    </dgm:pt>
    <dgm:pt modelId="{4B641B23-6DF0-4FB2-852F-8EEC5B82E9FD}" type="pres">
      <dgm:prSet presAssocID="{0DD4178D-18E7-432F-B913-CC5E8674AD85}" presName="rootText" presStyleLbl="node4" presStyleIdx="3" presStyleCnt="5" custScaleX="184576">
        <dgm:presLayoutVars>
          <dgm:chPref val="3"/>
        </dgm:presLayoutVars>
      </dgm:prSet>
      <dgm:spPr/>
    </dgm:pt>
    <dgm:pt modelId="{A33AC2EF-B5E5-4517-88A0-A3F5C28E9098}" type="pres">
      <dgm:prSet presAssocID="{0DD4178D-18E7-432F-B913-CC5E8674AD85}" presName="rootConnector" presStyleLbl="node4" presStyleIdx="3" presStyleCnt="5"/>
      <dgm:spPr/>
    </dgm:pt>
    <dgm:pt modelId="{AAF4BCF7-EEC7-4EF6-ABC1-64D407DC5335}" type="pres">
      <dgm:prSet presAssocID="{0DD4178D-18E7-432F-B913-CC5E8674AD85}" presName="hierChild4" presStyleCnt="0"/>
      <dgm:spPr/>
    </dgm:pt>
    <dgm:pt modelId="{1E864168-098E-4C9E-A8EC-282760C2DBFD}" type="pres">
      <dgm:prSet presAssocID="{0DD4178D-18E7-432F-B913-CC5E8674AD85}" presName="hierChild5" presStyleCnt="0"/>
      <dgm:spPr/>
    </dgm:pt>
    <dgm:pt modelId="{F644338E-CF12-45F7-820F-0EDF6254DF84}" type="pres">
      <dgm:prSet presAssocID="{0252DAB3-430C-4F48-BF02-A5B04EE9EC23}" presName="hierChild5" presStyleCnt="0"/>
      <dgm:spPr/>
    </dgm:pt>
    <dgm:pt modelId="{4F7E3EED-CBCF-441B-8DF6-B9632A5510BA}" type="pres">
      <dgm:prSet presAssocID="{36C4071E-8F64-460A-A0C8-F111C34DC63F}" presName="hierChild5" presStyleCnt="0"/>
      <dgm:spPr/>
    </dgm:pt>
    <dgm:pt modelId="{F0D85855-93FA-4E4D-859A-96CC76640165}" type="pres">
      <dgm:prSet presAssocID="{EE989A2F-18BA-4CE2-A2B8-2AE36B5A9609}" presName="hierChild5" presStyleCnt="0"/>
      <dgm:spPr/>
    </dgm:pt>
    <dgm:pt modelId="{3CFF7EF5-1865-4E70-9843-46CF0BA631BF}" type="pres">
      <dgm:prSet presAssocID="{9E348AEA-2B1F-4D46-91B1-431887E31C18}" presName="Name37" presStyleLbl="parChTrans1D4" presStyleIdx="4" presStyleCnt="5"/>
      <dgm:spPr/>
    </dgm:pt>
    <dgm:pt modelId="{A29E64A9-70C9-43CE-9C40-08612318F9FB}" type="pres">
      <dgm:prSet presAssocID="{0FDEFAFA-3D51-4BD8-B991-61B9BA093C41}" presName="hierRoot2" presStyleCnt="0">
        <dgm:presLayoutVars>
          <dgm:hierBranch val="init"/>
        </dgm:presLayoutVars>
      </dgm:prSet>
      <dgm:spPr/>
    </dgm:pt>
    <dgm:pt modelId="{E2A04D24-4804-426B-BC36-D904FA9BF190}" type="pres">
      <dgm:prSet presAssocID="{0FDEFAFA-3D51-4BD8-B991-61B9BA093C41}" presName="rootComposite" presStyleCnt="0"/>
      <dgm:spPr/>
    </dgm:pt>
    <dgm:pt modelId="{22129331-1DA9-4143-97CF-34A2B8460A9C}" type="pres">
      <dgm:prSet presAssocID="{0FDEFAFA-3D51-4BD8-B991-61B9BA093C41}" presName="rootText" presStyleLbl="node4" presStyleIdx="4" presStyleCnt="5" custScaleX="155889">
        <dgm:presLayoutVars>
          <dgm:chPref val="3"/>
        </dgm:presLayoutVars>
      </dgm:prSet>
      <dgm:spPr/>
    </dgm:pt>
    <dgm:pt modelId="{FA8391E8-2144-4FCC-AB59-9E5150B9BA02}" type="pres">
      <dgm:prSet presAssocID="{0FDEFAFA-3D51-4BD8-B991-61B9BA093C41}" presName="rootConnector" presStyleLbl="node4" presStyleIdx="4" presStyleCnt="5"/>
      <dgm:spPr/>
    </dgm:pt>
    <dgm:pt modelId="{AF46CF74-1DFC-48D8-B5E8-F96EF02CE819}" type="pres">
      <dgm:prSet presAssocID="{0FDEFAFA-3D51-4BD8-B991-61B9BA093C41}" presName="hierChild4" presStyleCnt="0"/>
      <dgm:spPr/>
    </dgm:pt>
    <dgm:pt modelId="{9969A11C-BC61-45A5-BED7-8842027DD99F}" type="pres">
      <dgm:prSet presAssocID="{0FDEFAFA-3D51-4BD8-B991-61B9BA093C41}" presName="hierChild5" presStyleCnt="0"/>
      <dgm:spPr/>
    </dgm:pt>
    <dgm:pt modelId="{30DA4CCB-4DF3-4DFF-8C2F-1A72BAB210B8}" type="pres">
      <dgm:prSet presAssocID="{02F2A4EB-4134-4525-9795-B914F2CCA05B}" presName="hierChild5" presStyleCnt="0"/>
      <dgm:spPr/>
    </dgm:pt>
    <dgm:pt modelId="{B70E435C-1938-4693-9A64-79AC0CCA1F7B}" type="pres">
      <dgm:prSet presAssocID="{CFBB3AB1-09D8-4075-877E-731A8AC58446}" presName="hierChild5" presStyleCnt="0"/>
      <dgm:spPr/>
    </dgm:pt>
    <dgm:pt modelId="{0DAE499C-450D-4C68-9D23-2D9CB0B06C81}" type="pres">
      <dgm:prSet presAssocID="{3C48F8B0-52EF-4364-944F-CFE7F2622399}" presName="hierChild3" presStyleCnt="0"/>
      <dgm:spPr/>
    </dgm:pt>
    <dgm:pt modelId="{1C449442-8C33-4B57-BEA7-B9654F014B07}" type="pres">
      <dgm:prSet presAssocID="{D05F1692-8A50-4DB8-815E-51BAFBF0D96C}" presName="Name111" presStyleLbl="parChTrans1D2" presStyleIdx="2" presStyleCnt="3"/>
      <dgm:spPr/>
    </dgm:pt>
    <dgm:pt modelId="{E493EAC6-A3D1-4593-9861-330DB1699FF4}" type="pres">
      <dgm:prSet presAssocID="{DBCC19AE-9578-4314-BE29-F3B0D030D416}" presName="hierRoot3" presStyleCnt="0">
        <dgm:presLayoutVars>
          <dgm:hierBranch val="init"/>
        </dgm:presLayoutVars>
      </dgm:prSet>
      <dgm:spPr/>
    </dgm:pt>
    <dgm:pt modelId="{FB62521E-C4D6-43D7-BCE1-B5CDA8760C6B}" type="pres">
      <dgm:prSet presAssocID="{DBCC19AE-9578-4314-BE29-F3B0D030D416}" presName="rootComposite3" presStyleCnt="0"/>
      <dgm:spPr/>
    </dgm:pt>
    <dgm:pt modelId="{E0B8EAC7-F880-4316-8AD8-B2B956CD5CA7}" type="pres">
      <dgm:prSet presAssocID="{DBCC19AE-9578-4314-BE29-F3B0D030D416}" presName="rootText3" presStyleLbl="asst1" presStyleIdx="0" presStyleCnt="1" custScaleX="201054">
        <dgm:presLayoutVars>
          <dgm:chPref val="3"/>
        </dgm:presLayoutVars>
      </dgm:prSet>
      <dgm:spPr/>
    </dgm:pt>
    <dgm:pt modelId="{D113A79F-4148-45EA-B0CC-FC76480F9FD7}" type="pres">
      <dgm:prSet presAssocID="{DBCC19AE-9578-4314-BE29-F3B0D030D416}" presName="rootConnector3" presStyleLbl="asst1" presStyleIdx="0" presStyleCnt="1"/>
      <dgm:spPr/>
    </dgm:pt>
    <dgm:pt modelId="{C8A10507-3192-4C7F-9AC8-4404142E6DA9}" type="pres">
      <dgm:prSet presAssocID="{DBCC19AE-9578-4314-BE29-F3B0D030D416}" presName="hierChild6" presStyleCnt="0"/>
      <dgm:spPr/>
    </dgm:pt>
    <dgm:pt modelId="{EE50D89A-B4AD-4C3E-93AF-2F77724FC06B}" type="pres">
      <dgm:prSet presAssocID="{DBCC19AE-9578-4314-BE29-F3B0D030D416}" presName="hierChild7" presStyleCnt="0"/>
      <dgm:spPr/>
    </dgm:pt>
  </dgm:ptLst>
  <dgm:cxnLst>
    <dgm:cxn modelId="{EF718004-78EE-4080-941C-50553FBC564D}" srcId="{36C4071E-8F64-460A-A0C8-F111C34DC63F}" destId="{0252DAB3-430C-4F48-BF02-A5B04EE9EC23}" srcOrd="0" destOrd="0" parTransId="{E5BE86AE-8108-4A9E-A4F6-E5DDF7E5BC65}" sibTransId="{AE0B541B-2619-46FC-967D-4B65C03B07D1}"/>
    <dgm:cxn modelId="{EC099806-C10C-4D9E-9495-92AA1349F061}" type="presOf" srcId="{FA772B73-5668-45F7-878B-ED470B43D261}" destId="{21C9AE70-6F56-4D63-AD53-852F83FAA370}" srcOrd="0" destOrd="0" presId="urn:microsoft.com/office/officeart/2005/8/layout/orgChart1"/>
    <dgm:cxn modelId="{79FC6708-0F1D-4F1C-891C-026383D2E601}" type="presOf" srcId="{0DD4178D-18E7-432F-B913-CC5E8674AD85}" destId="{A33AC2EF-B5E5-4517-88A0-A3F5C28E9098}" srcOrd="1" destOrd="0" presId="urn:microsoft.com/office/officeart/2005/8/layout/orgChart1"/>
    <dgm:cxn modelId="{BEE62913-8F0E-4A58-AE7B-253C63DF088B}" type="presOf" srcId="{7C1C6CF0-9238-48EB-9D41-4FAC89FF9246}" destId="{A5D0916D-72EA-4C83-BBCE-AFA27E4BFEB2}" srcOrd="0" destOrd="0" presId="urn:microsoft.com/office/officeart/2005/8/layout/orgChart1"/>
    <dgm:cxn modelId="{14A89220-7620-4D5D-9DCE-E4E8046720B8}" type="presOf" srcId="{EE989A2F-18BA-4CE2-A2B8-2AE36B5A9609}" destId="{2C7466C9-4999-4ABA-B8DC-278D7DE988E1}" srcOrd="1" destOrd="0" presId="urn:microsoft.com/office/officeart/2005/8/layout/orgChart1"/>
    <dgm:cxn modelId="{6F812D2A-CF9C-4CDD-A333-A9DCE1408026}" type="presOf" srcId="{D05F1692-8A50-4DB8-815E-51BAFBF0D96C}" destId="{1C449442-8C33-4B57-BEA7-B9654F014B07}" srcOrd="0" destOrd="0" presId="urn:microsoft.com/office/officeart/2005/8/layout/orgChart1"/>
    <dgm:cxn modelId="{B8D3EB2C-638C-4805-8AF0-CFE5C37EC989}" type="presOf" srcId="{0FDEFAFA-3D51-4BD8-B991-61B9BA093C41}" destId="{FA8391E8-2144-4FCC-AB59-9E5150B9BA02}" srcOrd="1" destOrd="0" presId="urn:microsoft.com/office/officeart/2005/8/layout/orgChart1"/>
    <dgm:cxn modelId="{D99F0737-2AD7-4F2D-BA5F-62C58C4FC25A}" type="presOf" srcId="{9E348AEA-2B1F-4D46-91B1-431887E31C18}" destId="{3CFF7EF5-1865-4E70-9843-46CF0BA631BF}" srcOrd="0" destOrd="0" presId="urn:microsoft.com/office/officeart/2005/8/layout/orgChart1"/>
    <dgm:cxn modelId="{8CBBED40-7C6F-4E2A-901C-BA8AC1C0D054}" srcId="{961304FA-123D-467B-8A7F-D1D9F853E670}" destId="{3C48F8B0-52EF-4364-944F-CFE7F2622399}" srcOrd="0" destOrd="0" parTransId="{25A8CA7D-FFCC-4E91-BB6E-2DFD0395D795}" sibTransId="{13CCB663-7F8E-4EF0-B348-C3112ACD63CE}"/>
    <dgm:cxn modelId="{CF61C55D-FBD0-435F-AA2A-603D86453221}" type="presOf" srcId="{3C48F8B0-52EF-4364-944F-CFE7F2622399}" destId="{4104D8D5-DC8B-4360-AD23-E1678AA7A6EA}" srcOrd="1" destOrd="0" presId="urn:microsoft.com/office/officeart/2005/8/layout/orgChart1"/>
    <dgm:cxn modelId="{DE8B3161-CDAD-4F1C-908C-754175143BE1}" type="presOf" srcId="{6CAD160B-12D0-44CE-817D-17D09FE9E5FE}" destId="{E7A71232-DD6C-4471-B3C7-8D8DFC7D5D20}" srcOrd="0" destOrd="0" presId="urn:microsoft.com/office/officeart/2005/8/layout/orgChart1"/>
    <dgm:cxn modelId="{88CF4843-5A4F-468A-B3F9-B3EC80488C50}" type="presOf" srcId="{A723FD2B-5216-4461-B471-80BEEB63C6D2}" destId="{31D95A8F-A472-4EC6-B94B-D9918AA44C20}" srcOrd="0" destOrd="0" presId="urn:microsoft.com/office/officeart/2005/8/layout/orgChart1"/>
    <dgm:cxn modelId="{7F935546-D729-41A7-9534-39794537493A}" srcId="{3C48F8B0-52EF-4364-944F-CFE7F2622399}" destId="{DBCC19AE-9578-4314-BE29-F3B0D030D416}" srcOrd="0" destOrd="0" parTransId="{D05F1692-8A50-4DB8-815E-51BAFBF0D96C}" sibTransId="{4D718E4F-7D76-4F0F-B75C-730A79F7B9B1}"/>
    <dgm:cxn modelId="{4EC18347-81D9-48F3-85EA-3254A812C583}" type="presOf" srcId="{36C4071E-8F64-460A-A0C8-F111C34DC63F}" destId="{07703635-4DF5-41DF-A785-F73CB6E4D226}" srcOrd="1" destOrd="0" presId="urn:microsoft.com/office/officeart/2005/8/layout/orgChart1"/>
    <dgm:cxn modelId="{B364636A-E4C6-4A78-A4FB-53FC0E2CA34F}" srcId="{02F2A4EB-4134-4525-9795-B914F2CCA05B}" destId="{EE989A2F-18BA-4CE2-A2B8-2AE36B5A9609}" srcOrd="0" destOrd="0" parTransId="{5FFE8B39-3A68-488A-A82C-DF857E03445D}" sibTransId="{5F2E253E-FF20-4D23-A3F5-BE2118B76855}"/>
    <dgm:cxn modelId="{3D9A0A55-DD10-48BB-89D3-20778217883F}" type="presOf" srcId="{0252DAB3-430C-4F48-BF02-A5B04EE9EC23}" destId="{5A1BAC47-8D16-4FD5-8D0A-BF9C1FDC22C9}" srcOrd="1" destOrd="0" presId="urn:microsoft.com/office/officeart/2005/8/layout/orgChart1"/>
    <dgm:cxn modelId="{80073E75-671C-4636-98C8-C46027484F7B}" type="presOf" srcId="{02F2A4EB-4134-4525-9795-B914F2CCA05B}" destId="{098C0352-7902-4FDF-B989-F6E921E4EB1E}" srcOrd="1" destOrd="0" presId="urn:microsoft.com/office/officeart/2005/8/layout/orgChart1"/>
    <dgm:cxn modelId="{5F797057-FB8B-47CE-85AF-0EF663DC9FEB}" type="presOf" srcId="{02F2A4EB-4134-4525-9795-B914F2CCA05B}" destId="{29B5FF19-06A1-4E2D-BC22-F9BA8CD5D3FD}" srcOrd="0" destOrd="0" presId="urn:microsoft.com/office/officeart/2005/8/layout/orgChart1"/>
    <dgm:cxn modelId="{C857907C-B102-498D-BAAC-B61BE345E243}" srcId="{0252DAB3-430C-4F48-BF02-A5B04EE9EC23}" destId="{0DD4178D-18E7-432F-B913-CC5E8674AD85}" srcOrd="0" destOrd="0" parTransId="{AACBB2E2-4B84-480F-A1D0-D0F5E9E0867B}" sibTransId="{3AD723F3-7002-4214-B642-A754D999B3BA}"/>
    <dgm:cxn modelId="{696E7B90-6193-43F3-8413-3C85804AB124}" type="presOf" srcId="{E5BE86AE-8108-4A9E-A4F6-E5DDF7E5BC65}" destId="{33227BA0-D4A8-4B16-B356-887C116FEC3A}" srcOrd="0" destOrd="0" presId="urn:microsoft.com/office/officeart/2005/8/layout/orgChart1"/>
    <dgm:cxn modelId="{45CFCE92-7C3D-4E41-BE31-01DEED2CBEB4}" type="presOf" srcId="{CFBB3AB1-09D8-4075-877E-731A8AC58446}" destId="{5DC74452-57DD-4D4C-A33A-7915B1B5A127}" srcOrd="0" destOrd="0" presId="urn:microsoft.com/office/officeart/2005/8/layout/orgChart1"/>
    <dgm:cxn modelId="{40F42B99-6B78-4947-8514-4751C04CB416}" type="presOf" srcId="{0FDEFAFA-3D51-4BD8-B991-61B9BA093C41}" destId="{22129331-1DA9-4143-97CF-34A2B8460A9C}" srcOrd="0" destOrd="0" presId="urn:microsoft.com/office/officeart/2005/8/layout/orgChart1"/>
    <dgm:cxn modelId="{1E04A0A3-2C4A-4831-A4E7-76E5062DEBC4}" type="presOf" srcId="{0252DAB3-430C-4F48-BF02-A5B04EE9EC23}" destId="{3FF1D505-F108-44CF-B2D4-9F98D796A4D0}" srcOrd="0" destOrd="0" presId="urn:microsoft.com/office/officeart/2005/8/layout/orgChart1"/>
    <dgm:cxn modelId="{D04E0EA5-D193-4889-9315-B45B4A444738}" srcId="{3C48F8B0-52EF-4364-944F-CFE7F2622399}" destId="{6CAD160B-12D0-44CE-817D-17D09FE9E5FE}" srcOrd="1" destOrd="0" parTransId="{FA772B73-5668-45F7-878B-ED470B43D261}" sibTransId="{098F0283-5D05-49BC-8ADD-CFF0A1DD3BC7}"/>
    <dgm:cxn modelId="{13AAAAA6-F49E-4046-8098-580BF22EF83E}" type="presOf" srcId="{385E05AC-E181-409B-BF31-E46F44AB9764}" destId="{79CF3D7B-C06D-44AC-AF63-AD87675593F6}" srcOrd="0" destOrd="0" presId="urn:microsoft.com/office/officeart/2005/8/layout/orgChart1"/>
    <dgm:cxn modelId="{5AFAACB3-3385-4282-8D86-8603BE76912A}" srcId="{EE989A2F-18BA-4CE2-A2B8-2AE36B5A9609}" destId="{36C4071E-8F64-460A-A0C8-F111C34DC63F}" srcOrd="0" destOrd="0" parTransId="{385E05AC-E181-409B-BF31-E46F44AB9764}" sibTransId="{982DE54B-4512-4D7E-B909-8024789E19AE}"/>
    <dgm:cxn modelId="{F25E9AB4-DEC3-4897-A86F-FC26E70B001E}" srcId="{CFBB3AB1-09D8-4075-877E-731A8AC58446}" destId="{02F2A4EB-4134-4525-9795-B914F2CCA05B}" srcOrd="0" destOrd="0" parTransId="{7C1C6CF0-9238-48EB-9D41-4FAC89FF9246}" sibTransId="{EDC2F427-B4FE-43AB-AA31-438D9BDCB108}"/>
    <dgm:cxn modelId="{6C6F27B5-81ED-4477-B26D-92960C809E3B}" type="presOf" srcId="{DBCC19AE-9578-4314-BE29-F3B0D030D416}" destId="{D113A79F-4148-45EA-B0CC-FC76480F9FD7}" srcOrd="1" destOrd="0" presId="urn:microsoft.com/office/officeart/2005/8/layout/orgChart1"/>
    <dgm:cxn modelId="{24CAE9BA-D908-4A22-8CAB-43C35F47D90B}" type="presOf" srcId="{CFBB3AB1-09D8-4075-877E-731A8AC58446}" destId="{38F0DDE9-6595-42FA-9C4C-A6D181708CC8}" srcOrd="1" destOrd="0" presId="urn:microsoft.com/office/officeart/2005/8/layout/orgChart1"/>
    <dgm:cxn modelId="{0E69A7BB-72B4-45F4-8AAC-728F52EA8793}" type="presOf" srcId="{AACBB2E2-4B84-480F-A1D0-D0F5E9E0867B}" destId="{A407D757-7DAA-49BC-A28A-32088A4E6740}" srcOrd="0" destOrd="0" presId="urn:microsoft.com/office/officeart/2005/8/layout/orgChart1"/>
    <dgm:cxn modelId="{A290F6C2-843F-44EF-845D-9D0AD4B9C040}" srcId="{02F2A4EB-4134-4525-9795-B914F2CCA05B}" destId="{0FDEFAFA-3D51-4BD8-B991-61B9BA093C41}" srcOrd="1" destOrd="0" parTransId="{9E348AEA-2B1F-4D46-91B1-431887E31C18}" sibTransId="{9B9791F7-9100-472B-AAB7-49763E45A5A6}"/>
    <dgm:cxn modelId="{B425F9D7-DC4E-427D-B617-0AEB7849E6B1}" type="presOf" srcId="{0DD4178D-18E7-432F-B913-CC5E8674AD85}" destId="{4B641B23-6DF0-4FB2-852F-8EEC5B82E9FD}" srcOrd="0" destOrd="0" presId="urn:microsoft.com/office/officeart/2005/8/layout/orgChart1"/>
    <dgm:cxn modelId="{2A456DDA-FFF1-409D-8EE2-63263FE3F845}" type="presOf" srcId="{6CAD160B-12D0-44CE-817D-17D09FE9E5FE}" destId="{9AD62792-9753-49EC-B2EE-C0F764575949}" srcOrd="1" destOrd="0" presId="urn:microsoft.com/office/officeart/2005/8/layout/orgChart1"/>
    <dgm:cxn modelId="{DBD8B4E3-C329-4A8A-88A6-590310C3A045}" type="presOf" srcId="{EE989A2F-18BA-4CE2-A2B8-2AE36B5A9609}" destId="{08F8D1A6-84B4-4446-A759-18A42B149263}" srcOrd="0" destOrd="0" presId="urn:microsoft.com/office/officeart/2005/8/layout/orgChart1"/>
    <dgm:cxn modelId="{A87D90EE-997C-4DE3-8028-9FBE868FE053}" type="presOf" srcId="{DBCC19AE-9578-4314-BE29-F3B0D030D416}" destId="{E0B8EAC7-F880-4316-8AD8-B2B956CD5CA7}" srcOrd="0" destOrd="0" presId="urn:microsoft.com/office/officeart/2005/8/layout/orgChart1"/>
    <dgm:cxn modelId="{DD3180F1-C2E2-42B4-B415-58CCB0F509CE}" type="presOf" srcId="{5FFE8B39-3A68-488A-A82C-DF857E03445D}" destId="{2A2A3F54-2B77-4E2B-B001-2D8C0E2304DE}" srcOrd="0" destOrd="0" presId="urn:microsoft.com/office/officeart/2005/8/layout/orgChart1"/>
    <dgm:cxn modelId="{0B8079F2-75A2-4528-95C2-7B370AA8A891}" type="presOf" srcId="{36C4071E-8F64-460A-A0C8-F111C34DC63F}" destId="{555970C1-F91D-4BEA-B57E-55A366F41967}" srcOrd="0" destOrd="0" presId="urn:microsoft.com/office/officeart/2005/8/layout/orgChart1"/>
    <dgm:cxn modelId="{8F3011F3-019E-4CB9-96DA-E044E3DC4B4D}" type="presOf" srcId="{3C48F8B0-52EF-4364-944F-CFE7F2622399}" destId="{94B9A4D9-1915-4C2A-B50E-452B88CD8BAD}" srcOrd="0" destOrd="0" presId="urn:microsoft.com/office/officeart/2005/8/layout/orgChart1"/>
    <dgm:cxn modelId="{600F78F6-6B6E-430A-878B-EED5B364ABB6}" srcId="{3C48F8B0-52EF-4364-944F-CFE7F2622399}" destId="{CFBB3AB1-09D8-4075-877E-731A8AC58446}" srcOrd="2" destOrd="0" parTransId="{A723FD2B-5216-4461-B471-80BEEB63C6D2}" sibTransId="{60DB055F-838A-42B5-802D-F8749B236C6B}"/>
    <dgm:cxn modelId="{22ED0DFD-13FC-4E73-A439-EE1792F84418}" type="presOf" srcId="{961304FA-123D-467B-8A7F-D1D9F853E670}" destId="{FAEDAEE8-2FB0-4C9E-B12D-39FD2EEA09AB}" srcOrd="0" destOrd="0" presId="urn:microsoft.com/office/officeart/2005/8/layout/orgChart1"/>
    <dgm:cxn modelId="{12A4CCF7-4948-4198-8DB0-727A9536C38F}" type="presParOf" srcId="{FAEDAEE8-2FB0-4C9E-B12D-39FD2EEA09AB}" destId="{227E2903-0E8F-44B6-B45E-C7A92EDE3795}" srcOrd="0" destOrd="0" presId="urn:microsoft.com/office/officeart/2005/8/layout/orgChart1"/>
    <dgm:cxn modelId="{67027538-39C2-426A-86B3-6AF05F1C42E5}" type="presParOf" srcId="{227E2903-0E8F-44B6-B45E-C7A92EDE3795}" destId="{E736A252-BDCC-4156-833E-1ADCC0B0E53A}" srcOrd="0" destOrd="0" presId="urn:microsoft.com/office/officeart/2005/8/layout/orgChart1"/>
    <dgm:cxn modelId="{37B1A062-2E23-430E-8A89-0C52CDB38B64}" type="presParOf" srcId="{E736A252-BDCC-4156-833E-1ADCC0B0E53A}" destId="{94B9A4D9-1915-4C2A-B50E-452B88CD8BAD}" srcOrd="0" destOrd="0" presId="urn:microsoft.com/office/officeart/2005/8/layout/orgChart1"/>
    <dgm:cxn modelId="{D71E3DB8-B213-4844-B4F5-04ACC0F3A533}" type="presParOf" srcId="{E736A252-BDCC-4156-833E-1ADCC0B0E53A}" destId="{4104D8D5-DC8B-4360-AD23-E1678AA7A6EA}" srcOrd="1" destOrd="0" presId="urn:microsoft.com/office/officeart/2005/8/layout/orgChart1"/>
    <dgm:cxn modelId="{372E08DC-00A9-4DB8-A643-4C38C705972C}" type="presParOf" srcId="{227E2903-0E8F-44B6-B45E-C7A92EDE3795}" destId="{DE4FFE11-C073-4327-996D-7BFB464C45A4}" srcOrd="1" destOrd="0" presId="urn:microsoft.com/office/officeart/2005/8/layout/orgChart1"/>
    <dgm:cxn modelId="{91E63927-F7F1-4814-AF64-BFE41CF05721}" type="presParOf" srcId="{DE4FFE11-C073-4327-996D-7BFB464C45A4}" destId="{21C9AE70-6F56-4D63-AD53-852F83FAA370}" srcOrd="0" destOrd="0" presId="urn:microsoft.com/office/officeart/2005/8/layout/orgChart1"/>
    <dgm:cxn modelId="{394D4BC8-071A-4CAE-BF33-E13660957186}" type="presParOf" srcId="{DE4FFE11-C073-4327-996D-7BFB464C45A4}" destId="{67E46A76-1A2A-4CB6-B2BB-CBE9ECD34587}" srcOrd="1" destOrd="0" presId="urn:microsoft.com/office/officeart/2005/8/layout/orgChart1"/>
    <dgm:cxn modelId="{98FDA1D5-9D65-4699-A392-354F749CC4A4}" type="presParOf" srcId="{67E46A76-1A2A-4CB6-B2BB-CBE9ECD34587}" destId="{4D93DCD1-B708-41D6-89A8-DE93B407755D}" srcOrd="0" destOrd="0" presId="urn:microsoft.com/office/officeart/2005/8/layout/orgChart1"/>
    <dgm:cxn modelId="{9A8DBB9D-5907-471F-812D-A5B5BF0034F8}" type="presParOf" srcId="{4D93DCD1-B708-41D6-89A8-DE93B407755D}" destId="{E7A71232-DD6C-4471-B3C7-8D8DFC7D5D20}" srcOrd="0" destOrd="0" presId="urn:microsoft.com/office/officeart/2005/8/layout/orgChart1"/>
    <dgm:cxn modelId="{263DB3A6-1697-4629-941F-FC7505F8CC11}" type="presParOf" srcId="{4D93DCD1-B708-41D6-89A8-DE93B407755D}" destId="{9AD62792-9753-49EC-B2EE-C0F764575949}" srcOrd="1" destOrd="0" presId="urn:microsoft.com/office/officeart/2005/8/layout/orgChart1"/>
    <dgm:cxn modelId="{3EAE26B5-E3D1-4F0C-B995-575E12B66709}" type="presParOf" srcId="{67E46A76-1A2A-4CB6-B2BB-CBE9ECD34587}" destId="{524184FC-9F10-4331-BB96-40FE47308F21}" srcOrd="1" destOrd="0" presId="urn:microsoft.com/office/officeart/2005/8/layout/orgChart1"/>
    <dgm:cxn modelId="{646AA595-A5DA-4BE2-B806-4BBD34628C63}" type="presParOf" srcId="{67E46A76-1A2A-4CB6-B2BB-CBE9ECD34587}" destId="{92542CF4-1C13-46E5-96BF-1B4D2BAF8379}" srcOrd="2" destOrd="0" presId="urn:microsoft.com/office/officeart/2005/8/layout/orgChart1"/>
    <dgm:cxn modelId="{55AA442D-D76E-488D-8247-A5C0C0810031}" type="presParOf" srcId="{DE4FFE11-C073-4327-996D-7BFB464C45A4}" destId="{31D95A8F-A472-4EC6-B94B-D9918AA44C20}" srcOrd="2" destOrd="0" presId="urn:microsoft.com/office/officeart/2005/8/layout/orgChart1"/>
    <dgm:cxn modelId="{1A866B75-78F2-4CD0-943B-2597A07EC862}" type="presParOf" srcId="{DE4FFE11-C073-4327-996D-7BFB464C45A4}" destId="{EF658EDF-970F-44AF-A65D-9D6ED29FA349}" srcOrd="3" destOrd="0" presId="urn:microsoft.com/office/officeart/2005/8/layout/orgChart1"/>
    <dgm:cxn modelId="{14D76660-FED5-41BE-8C77-7B01024ECA9C}" type="presParOf" srcId="{EF658EDF-970F-44AF-A65D-9D6ED29FA349}" destId="{C1FBE83C-FCD9-4957-A9C7-79E5D961AB48}" srcOrd="0" destOrd="0" presId="urn:microsoft.com/office/officeart/2005/8/layout/orgChart1"/>
    <dgm:cxn modelId="{D2F5B0FA-D9C7-439C-A12A-FEBEBE0554BA}" type="presParOf" srcId="{C1FBE83C-FCD9-4957-A9C7-79E5D961AB48}" destId="{5DC74452-57DD-4D4C-A33A-7915B1B5A127}" srcOrd="0" destOrd="0" presId="urn:microsoft.com/office/officeart/2005/8/layout/orgChart1"/>
    <dgm:cxn modelId="{AD31DBDB-C1A2-41CE-BB78-DCE3F02DDB46}" type="presParOf" srcId="{C1FBE83C-FCD9-4957-A9C7-79E5D961AB48}" destId="{38F0DDE9-6595-42FA-9C4C-A6D181708CC8}" srcOrd="1" destOrd="0" presId="urn:microsoft.com/office/officeart/2005/8/layout/orgChart1"/>
    <dgm:cxn modelId="{BBEFA873-C529-4B64-8063-164B64770A06}" type="presParOf" srcId="{EF658EDF-970F-44AF-A65D-9D6ED29FA349}" destId="{6B875C3B-0C14-4EF4-9031-40ECBFE907AE}" srcOrd="1" destOrd="0" presId="urn:microsoft.com/office/officeart/2005/8/layout/orgChart1"/>
    <dgm:cxn modelId="{16DABDB1-8563-426E-B41F-BEC3BC7F0F9B}" type="presParOf" srcId="{6B875C3B-0C14-4EF4-9031-40ECBFE907AE}" destId="{A5D0916D-72EA-4C83-BBCE-AFA27E4BFEB2}" srcOrd="0" destOrd="0" presId="urn:microsoft.com/office/officeart/2005/8/layout/orgChart1"/>
    <dgm:cxn modelId="{E7A7DA51-1A06-4BC5-8A2F-CCC8D8314088}" type="presParOf" srcId="{6B875C3B-0C14-4EF4-9031-40ECBFE907AE}" destId="{EBC15B21-33F8-42AA-81CA-7DB9107C42E1}" srcOrd="1" destOrd="0" presId="urn:microsoft.com/office/officeart/2005/8/layout/orgChart1"/>
    <dgm:cxn modelId="{0E63D609-E5E1-450A-BCA7-28ED5C7D43DF}" type="presParOf" srcId="{EBC15B21-33F8-42AA-81CA-7DB9107C42E1}" destId="{C0C78037-BBE6-4663-A1F1-676058265DBA}" srcOrd="0" destOrd="0" presId="urn:microsoft.com/office/officeart/2005/8/layout/orgChart1"/>
    <dgm:cxn modelId="{EDEB19F2-4649-4049-9A70-0819CD7C2E63}" type="presParOf" srcId="{C0C78037-BBE6-4663-A1F1-676058265DBA}" destId="{29B5FF19-06A1-4E2D-BC22-F9BA8CD5D3FD}" srcOrd="0" destOrd="0" presId="urn:microsoft.com/office/officeart/2005/8/layout/orgChart1"/>
    <dgm:cxn modelId="{1B2B4E18-6302-48DD-9CEA-309C209CA4CA}" type="presParOf" srcId="{C0C78037-BBE6-4663-A1F1-676058265DBA}" destId="{098C0352-7902-4FDF-B989-F6E921E4EB1E}" srcOrd="1" destOrd="0" presId="urn:microsoft.com/office/officeart/2005/8/layout/orgChart1"/>
    <dgm:cxn modelId="{9753C7F7-27CC-471D-A2DA-C5551595AE26}" type="presParOf" srcId="{EBC15B21-33F8-42AA-81CA-7DB9107C42E1}" destId="{F2738200-820E-4240-8F2D-7A97972F272F}" srcOrd="1" destOrd="0" presId="urn:microsoft.com/office/officeart/2005/8/layout/orgChart1"/>
    <dgm:cxn modelId="{4F8B1A78-603C-426D-9B95-61D851CB6CD1}" type="presParOf" srcId="{F2738200-820E-4240-8F2D-7A97972F272F}" destId="{2A2A3F54-2B77-4E2B-B001-2D8C0E2304DE}" srcOrd="0" destOrd="0" presId="urn:microsoft.com/office/officeart/2005/8/layout/orgChart1"/>
    <dgm:cxn modelId="{772813FD-732B-4FF1-99F1-D914999ADA66}" type="presParOf" srcId="{F2738200-820E-4240-8F2D-7A97972F272F}" destId="{63EDB987-C4F9-47F7-8EBF-8C6B69E05CCA}" srcOrd="1" destOrd="0" presId="urn:microsoft.com/office/officeart/2005/8/layout/orgChart1"/>
    <dgm:cxn modelId="{8D6CA8C6-4A5C-40B8-90C9-86824127EA76}" type="presParOf" srcId="{63EDB987-C4F9-47F7-8EBF-8C6B69E05CCA}" destId="{9C8C1180-A738-4089-B1B3-7BDD0EA63212}" srcOrd="0" destOrd="0" presId="urn:microsoft.com/office/officeart/2005/8/layout/orgChart1"/>
    <dgm:cxn modelId="{C0975BE2-7178-46B9-99DA-6DF6B47C5D52}" type="presParOf" srcId="{9C8C1180-A738-4089-B1B3-7BDD0EA63212}" destId="{08F8D1A6-84B4-4446-A759-18A42B149263}" srcOrd="0" destOrd="0" presId="urn:microsoft.com/office/officeart/2005/8/layout/orgChart1"/>
    <dgm:cxn modelId="{437A3CBF-44A2-4C07-946D-49F9F903ECCE}" type="presParOf" srcId="{9C8C1180-A738-4089-B1B3-7BDD0EA63212}" destId="{2C7466C9-4999-4ABA-B8DC-278D7DE988E1}" srcOrd="1" destOrd="0" presId="urn:microsoft.com/office/officeart/2005/8/layout/orgChart1"/>
    <dgm:cxn modelId="{A2F297C5-CB84-48BC-988B-19097DAF5E2B}" type="presParOf" srcId="{63EDB987-C4F9-47F7-8EBF-8C6B69E05CCA}" destId="{119E49DE-2E2D-469A-B16A-986D3F1D6A74}" srcOrd="1" destOrd="0" presId="urn:microsoft.com/office/officeart/2005/8/layout/orgChart1"/>
    <dgm:cxn modelId="{B08AF9A2-7B83-419D-813E-6AFC0A454EC9}" type="presParOf" srcId="{119E49DE-2E2D-469A-B16A-986D3F1D6A74}" destId="{79CF3D7B-C06D-44AC-AF63-AD87675593F6}" srcOrd="0" destOrd="0" presId="urn:microsoft.com/office/officeart/2005/8/layout/orgChart1"/>
    <dgm:cxn modelId="{ECB33D67-E4F0-4E02-AB58-74E5CAFD6FDB}" type="presParOf" srcId="{119E49DE-2E2D-469A-B16A-986D3F1D6A74}" destId="{4030F730-F1C6-4D9D-86A8-72F9427B250F}" srcOrd="1" destOrd="0" presId="urn:microsoft.com/office/officeart/2005/8/layout/orgChart1"/>
    <dgm:cxn modelId="{3300DE21-FCFA-4E6B-AB4D-B3DF9387AC8E}" type="presParOf" srcId="{4030F730-F1C6-4D9D-86A8-72F9427B250F}" destId="{CF0DDB7B-0E6A-4689-B191-D1D7BD186402}" srcOrd="0" destOrd="0" presId="urn:microsoft.com/office/officeart/2005/8/layout/orgChart1"/>
    <dgm:cxn modelId="{FC5F648B-5AC7-4DDA-AE52-787A06469D90}" type="presParOf" srcId="{CF0DDB7B-0E6A-4689-B191-D1D7BD186402}" destId="{555970C1-F91D-4BEA-B57E-55A366F41967}" srcOrd="0" destOrd="0" presId="urn:microsoft.com/office/officeart/2005/8/layout/orgChart1"/>
    <dgm:cxn modelId="{8D28F539-7D8E-4938-939F-10B5B09C8012}" type="presParOf" srcId="{CF0DDB7B-0E6A-4689-B191-D1D7BD186402}" destId="{07703635-4DF5-41DF-A785-F73CB6E4D226}" srcOrd="1" destOrd="0" presId="urn:microsoft.com/office/officeart/2005/8/layout/orgChart1"/>
    <dgm:cxn modelId="{C3643AE0-37DD-4485-96A5-7FF6D005C2AB}" type="presParOf" srcId="{4030F730-F1C6-4D9D-86A8-72F9427B250F}" destId="{1D07D33D-2234-4180-90B6-F4B6278341BD}" srcOrd="1" destOrd="0" presId="urn:microsoft.com/office/officeart/2005/8/layout/orgChart1"/>
    <dgm:cxn modelId="{2BCCAC86-2A39-4986-AB52-300CAD296338}" type="presParOf" srcId="{1D07D33D-2234-4180-90B6-F4B6278341BD}" destId="{33227BA0-D4A8-4B16-B356-887C116FEC3A}" srcOrd="0" destOrd="0" presId="urn:microsoft.com/office/officeart/2005/8/layout/orgChart1"/>
    <dgm:cxn modelId="{5DF25E45-596D-4856-8BF2-04E0D42F43AC}" type="presParOf" srcId="{1D07D33D-2234-4180-90B6-F4B6278341BD}" destId="{4E7CE246-A7D0-48BE-8AF5-0620C3A311EA}" srcOrd="1" destOrd="0" presId="urn:microsoft.com/office/officeart/2005/8/layout/orgChart1"/>
    <dgm:cxn modelId="{B7557658-952C-4544-864B-CBC0B5CC7A4B}" type="presParOf" srcId="{4E7CE246-A7D0-48BE-8AF5-0620C3A311EA}" destId="{954D01BD-D384-4A80-B2B2-D53C9C6A5258}" srcOrd="0" destOrd="0" presId="urn:microsoft.com/office/officeart/2005/8/layout/orgChart1"/>
    <dgm:cxn modelId="{A33F12DA-5705-477D-BF78-C054B04CE920}" type="presParOf" srcId="{954D01BD-D384-4A80-B2B2-D53C9C6A5258}" destId="{3FF1D505-F108-44CF-B2D4-9F98D796A4D0}" srcOrd="0" destOrd="0" presId="urn:microsoft.com/office/officeart/2005/8/layout/orgChart1"/>
    <dgm:cxn modelId="{D70FA579-7775-4185-A190-5714165E7D5A}" type="presParOf" srcId="{954D01BD-D384-4A80-B2B2-D53C9C6A5258}" destId="{5A1BAC47-8D16-4FD5-8D0A-BF9C1FDC22C9}" srcOrd="1" destOrd="0" presId="urn:microsoft.com/office/officeart/2005/8/layout/orgChart1"/>
    <dgm:cxn modelId="{CF0D4662-4D51-409D-9951-112432844116}" type="presParOf" srcId="{4E7CE246-A7D0-48BE-8AF5-0620C3A311EA}" destId="{E3454E01-0C05-4308-A0AF-AA68E8086BAF}" srcOrd="1" destOrd="0" presId="urn:microsoft.com/office/officeart/2005/8/layout/orgChart1"/>
    <dgm:cxn modelId="{83EF1FF5-086A-4D86-A55A-054329EB197C}" type="presParOf" srcId="{E3454E01-0C05-4308-A0AF-AA68E8086BAF}" destId="{A407D757-7DAA-49BC-A28A-32088A4E6740}" srcOrd="0" destOrd="0" presId="urn:microsoft.com/office/officeart/2005/8/layout/orgChart1"/>
    <dgm:cxn modelId="{CF80B44D-E991-4CD8-ACE4-C04626F288C1}" type="presParOf" srcId="{E3454E01-0C05-4308-A0AF-AA68E8086BAF}" destId="{CE22FF57-264B-4A9D-9C62-913969710ACF}" srcOrd="1" destOrd="0" presId="urn:microsoft.com/office/officeart/2005/8/layout/orgChart1"/>
    <dgm:cxn modelId="{CD0ECF75-F041-439E-8000-C1296864A18B}" type="presParOf" srcId="{CE22FF57-264B-4A9D-9C62-913969710ACF}" destId="{855AD13B-34DC-48C2-8B0B-E726A4F63701}" srcOrd="0" destOrd="0" presId="urn:microsoft.com/office/officeart/2005/8/layout/orgChart1"/>
    <dgm:cxn modelId="{5E7FFF0E-55B4-4D21-B4BC-0DDA9B1A5013}" type="presParOf" srcId="{855AD13B-34DC-48C2-8B0B-E726A4F63701}" destId="{4B641B23-6DF0-4FB2-852F-8EEC5B82E9FD}" srcOrd="0" destOrd="0" presId="urn:microsoft.com/office/officeart/2005/8/layout/orgChart1"/>
    <dgm:cxn modelId="{B9D2995D-7BAB-47C5-AE31-76D7E05AADD3}" type="presParOf" srcId="{855AD13B-34DC-48C2-8B0B-E726A4F63701}" destId="{A33AC2EF-B5E5-4517-88A0-A3F5C28E9098}" srcOrd="1" destOrd="0" presId="urn:microsoft.com/office/officeart/2005/8/layout/orgChart1"/>
    <dgm:cxn modelId="{61C2EB7D-80CF-463E-9D99-03540D760050}" type="presParOf" srcId="{CE22FF57-264B-4A9D-9C62-913969710ACF}" destId="{AAF4BCF7-EEC7-4EF6-ABC1-64D407DC5335}" srcOrd="1" destOrd="0" presId="urn:microsoft.com/office/officeart/2005/8/layout/orgChart1"/>
    <dgm:cxn modelId="{8BA22E56-9A4D-4383-ADC6-25F30755A8B0}" type="presParOf" srcId="{CE22FF57-264B-4A9D-9C62-913969710ACF}" destId="{1E864168-098E-4C9E-A8EC-282760C2DBFD}" srcOrd="2" destOrd="0" presId="urn:microsoft.com/office/officeart/2005/8/layout/orgChart1"/>
    <dgm:cxn modelId="{ED86CECA-F25A-494A-86AC-79D0D10AB5E5}" type="presParOf" srcId="{4E7CE246-A7D0-48BE-8AF5-0620C3A311EA}" destId="{F644338E-CF12-45F7-820F-0EDF6254DF84}" srcOrd="2" destOrd="0" presId="urn:microsoft.com/office/officeart/2005/8/layout/orgChart1"/>
    <dgm:cxn modelId="{CA6B64BA-C73E-4404-8C7F-F5D6C089B335}" type="presParOf" srcId="{4030F730-F1C6-4D9D-86A8-72F9427B250F}" destId="{4F7E3EED-CBCF-441B-8DF6-B9632A5510BA}" srcOrd="2" destOrd="0" presId="urn:microsoft.com/office/officeart/2005/8/layout/orgChart1"/>
    <dgm:cxn modelId="{91826A0D-C01C-4DBF-B3C7-163AFA8A99FA}" type="presParOf" srcId="{63EDB987-C4F9-47F7-8EBF-8C6B69E05CCA}" destId="{F0D85855-93FA-4E4D-859A-96CC76640165}" srcOrd="2" destOrd="0" presId="urn:microsoft.com/office/officeart/2005/8/layout/orgChart1"/>
    <dgm:cxn modelId="{0E25DCD3-39FA-41B8-86C2-F85DF1BE7CB2}" type="presParOf" srcId="{F2738200-820E-4240-8F2D-7A97972F272F}" destId="{3CFF7EF5-1865-4E70-9843-46CF0BA631BF}" srcOrd="2" destOrd="0" presId="urn:microsoft.com/office/officeart/2005/8/layout/orgChart1"/>
    <dgm:cxn modelId="{A2B596B7-62BA-42D7-8C2D-5A2FB1F82A00}" type="presParOf" srcId="{F2738200-820E-4240-8F2D-7A97972F272F}" destId="{A29E64A9-70C9-43CE-9C40-08612318F9FB}" srcOrd="3" destOrd="0" presId="urn:microsoft.com/office/officeart/2005/8/layout/orgChart1"/>
    <dgm:cxn modelId="{06C18FE0-2479-442F-B58F-34A85F788BAD}" type="presParOf" srcId="{A29E64A9-70C9-43CE-9C40-08612318F9FB}" destId="{E2A04D24-4804-426B-BC36-D904FA9BF190}" srcOrd="0" destOrd="0" presId="urn:microsoft.com/office/officeart/2005/8/layout/orgChart1"/>
    <dgm:cxn modelId="{12B1C5E0-930C-43CD-B143-62DE3EB95760}" type="presParOf" srcId="{E2A04D24-4804-426B-BC36-D904FA9BF190}" destId="{22129331-1DA9-4143-97CF-34A2B8460A9C}" srcOrd="0" destOrd="0" presId="urn:microsoft.com/office/officeart/2005/8/layout/orgChart1"/>
    <dgm:cxn modelId="{F348C69C-0F5F-4A1A-8697-DB9276ED1377}" type="presParOf" srcId="{E2A04D24-4804-426B-BC36-D904FA9BF190}" destId="{FA8391E8-2144-4FCC-AB59-9E5150B9BA02}" srcOrd="1" destOrd="0" presId="urn:microsoft.com/office/officeart/2005/8/layout/orgChart1"/>
    <dgm:cxn modelId="{F86DD7A9-057A-4EDF-935D-AAF8CDAA0C78}" type="presParOf" srcId="{A29E64A9-70C9-43CE-9C40-08612318F9FB}" destId="{AF46CF74-1DFC-48D8-B5E8-F96EF02CE819}" srcOrd="1" destOrd="0" presId="urn:microsoft.com/office/officeart/2005/8/layout/orgChart1"/>
    <dgm:cxn modelId="{AD8929B0-2F01-42DF-953A-ED32D32F0300}" type="presParOf" srcId="{A29E64A9-70C9-43CE-9C40-08612318F9FB}" destId="{9969A11C-BC61-45A5-BED7-8842027DD99F}" srcOrd="2" destOrd="0" presId="urn:microsoft.com/office/officeart/2005/8/layout/orgChart1"/>
    <dgm:cxn modelId="{65927D22-A5FC-4AD9-9164-CDFA8B49EF5C}" type="presParOf" srcId="{EBC15B21-33F8-42AA-81CA-7DB9107C42E1}" destId="{30DA4CCB-4DF3-4DFF-8C2F-1A72BAB210B8}" srcOrd="2" destOrd="0" presId="urn:microsoft.com/office/officeart/2005/8/layout/orgChart1"/>
    <dgm:cxn modelId="{1C5857D7-0D22-4CDD-A71F-534F6C5D1CA9}" type="presParOf" srcId="{EF658EDF-970F-44AF-A65D-9D6ED29FA349}" destId="{B70E435C-1938-4693-9A64-79AC0CCA1F7B}" srcOrd="2" destOrd="0" presId="urn:microsoft.com/office/officeart/2005/8/layout/orgChart1"/>
    <dgm:cxn modelId="{D51A75BC-3B25-42F6-8FB9-914EAF340797}" type="presParOf" srcId="{227E2903-0E8F-44B6-B45E-C7A92EDE3795}" destId="{0DAE499C-450D-4C68-9D23-2D9CB0B06C81}" srcOrd="2" destOrd="0" presId="urn:microsoft.com/office/officeart/2005/8/layout/orgChart1"/>
    <dgm:cxn modelId="{590514B0-7A0D-469B-996C-FD9E65DED2D8}" type="presParOf" srcId="{0DAE499C-450D-4C68-9D23-2D9CB0B06C81}" destId="{1C449442-8C33-4B57-BEA7-B9654F014B07}" srcOrd="0" destOrd="0" presId="urn:microsoft.com/office/officeart/2005/8/layout/orgChart1"/>
    <dgm:cxn modelId="{7709B634-4E56-454F-89CB-1DB84CA1908D}" type="presParOf" srcId="{0DAE499C-450D-4C68-9D23-2D9CB0B06C81}" destId="{E493EAC6-A3D1-4593-9861-330DB1699FF4}" srcOrd="1" destOrd="0" presId="urn:microsoft.com/office/officeart/2005/8/layout/orgChart1"/>
    <dgm:cxn modelId="{34B49137-DD61-4110-950B-F156113CF542}" type="presParOf" srcId="{E493EAC6-A3D1-4593-9861-330DB1699FF4}" destId="{FB62521E-C4D6-43D7-BCE1-B5CDA8760C6B}" srcOrd="0" destOrd="0" presId="urn:microsoft.com/office/officeart/2005/8/layout/orgChart1"/>
    <dgm:cxn modelId="{207D2650-0D4D-4F98-A043-6B706433CBE6}" type="presParOf" srcId="{FB62521E-C4D6-43D7-BCE1-B5CDA8760C6B}" destId="{E0B8EAC7-F880-4316-8AD8-B2B956CD5CA7}" srcOrd="0" destOrd="0" presId="urn:microsoft.com/office/officeart/2005/8/layout/orgChart1"/>
    <dgm:cxn modelId="{652ECC63-97E9-4527-BC20-8060EF1A7B15}" type="presParOf" srcId="{FB62521E-C4D6-43D7-BCE1-B5CDA8760C6B}" destId="{D113A79F-4148-45EA-B0CC-FC76480F9FD7}" srcOrd="1" destOrd="0" presId="urn:microsoft.com/office/officeart/2005/8/layout/orgChart1"/>
    <dgm:cxn modelId="{3990DB58-F2C0-4A80-AEA0-48753B984D9B}" type="presParOf" srcId="{E493EAC6-A3D1-4593-9861-330DB1699FF4}" destId="{C8A10507-3192-4C7F-9AC8-4404142E6DA9}" srcOrd="1" destOrd="0" presId="urn:microsoft.com/office/officeart/2005/8/layout/orgChart1"/>
    <dgm:cxn modelId="{AFCD4EA9-C675-4245-876B-085C8AE1730D}" type="presParOf" srcId="{E493EAC6-A3D1-4593-9861-330DB1699FF4}" destId="{EE50D89A-B4AD-4C3E-93AF-2F77724FC06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ED0DE7-B0D5-46A1-B21B-14DA3D6C9A4E}">
      <dsp:nvSpPr>
        <dsp:cNvPr id="0" name=""/>
        <dsp:cNvSpPr/>
      </dsp:nvSpPr>
      <dsp:spPr>
        <a:xfrm>
          <a:off x="0" y="339071"/>
          <a:ext cx="11041591" cy="4536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B007B6-4EE6-4BF8-95FD-9CDEEB1A74B3}">
      <dsp:nvSpPr>
        <dsp:cNvPr id="0" name=""/>
        <dsp:cNvSpPr/>
      </dsp:nvSpPr>
      <dsp:spPr>
        <a:xfrm>
          <a:off x="552079" y="73391"/>
          <a:ext cx="7729113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42" tIns="0" rIns="292142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Разработка образовательных программ </a:t>
          </a:r>
        </a:p>
      </dsp:txBody>
      <dsp:txXfrm>
        <a:off x="578018" y="99330"/>
        <a:ext cx="7677235" cy="479482"/>
      </dsp:txXfrm>
    </dsp:sp>
    <dsp:sp modelId="{C503685B-CD3E-4BB9-8587-38C4A9F73E46}">
      <dsp:nvSpPr>
        <dsp:cNvPr id="0" name=""/>
        <dsp:cNvSpPr/>
      </dsp:nvSpPr>
      <dsp:spPr>
        <a:xfrm>
          <a:off x="0" y="1155551"/>
          <a:ext cx="11041591" cy="4536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6950" tIns="374904" rIns="856950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ru-RU" sz="1800" kern="1200"/>
        </a:p>
      </dsp:txBody>
      <dsp:txXfrm>
        <a:off x="0" y="1155551"/>
        <a:ext cx="11041591" cy="453600"/>
      </dsp:txXfrm>
    </dsp:sp>
    <dsp:sp modelId="{83590AEF-1332-47ED-9C65-4735F367BB76}">
      <dsp:nvSpPr>
        <dsp:cNvPr id="0" name=""/>
        <dsp:cNvSpPr/>
      </dsp:nvSpPr>
      <dsp:spPr>
        <a:xfrm>
          <a:off x="552079" y="889871"/>
          <a:ext cx="7729113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42" tIns="0" rIns="292142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Ведение </a:t>
          </a:r>
          <a:r>
            <a:rPr lang="ru-RU" sz="1800" b="1" kern="1200" dirty="0" err="1"/>
            <a:t>Госпаблик</a:t>
          </a:r>
          <a:r>
            <a:rPr lang="ru-RU" sz="1800" b="1" kern="1200" dirty="0"/>
            <a:t>, администрирование </a:t>
          </a:r>
          <a:r>
            <a:rPr lang="ru-RU" sz="1800" b="1" kern="1200" dirty="0" err="1"/>
            <a:t>Сферума</a:t>
          </a:r>
          <a:r>
            <a:rPr lang="ru-RU" sz="1800" b="1" kern="1200" dirty="0"/>
            <a:t>  </a:t>
          </a:r>
        </a:p>
      </dsp:txBody>
      <dsp:txXfrm>
        <a:off x="578018" y="915810"/>
        <a:ext cx="7677235" cy="479482"/>
      </dsp:txXfrm>
    </dsp:sp>
    <dsp:sp modelId="{B4528D1B-54CE-4B8E-BBB0-DE1ED4B7AE19}">
      <dsp:nvSpPr>
        <dsp:cNvPr id="0" name=""/>
        <dsp:cNvSpPr/>
      </dsp:nvSpPr>
      <dsp:spPr>
        <a:xfrm>
          <a:off x="0" y="1972031"/>
          <a:ext cx="11041591" cy="4536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3F2604-8172-4419-A67A-273673DBC59C}">
      <dsp:nvSpPr>
        <dsp:cNvPr id="0" name=""/>
        <dsp:cNvSpPr/>
      </dsp:nvSpPr>
      <dsp:spPr>
        <a:xfrm>
          <a:off x="552079" y="1706351"/>
          <a:ext cx="7729113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42" tIns="0" rIns="292142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Индивидуализация образования  </a:t>
          </a:r>
        </a:p>
      </dsp:txBody>
      <dsp:txXfrm>
        <a:off x="578018" y="1732290"/>
        <a:ext cx="7677235" cy="479482"/>
      </dsp:txXfrm>
    </dsp:sp>
    <dsp:sp modelId="{6BB0331C-15BC-44F8-9B70-EACE4659E899}">
      <dsp:nvSpPr>
        <dsp:cNvPr id="0" name=""/>
        <dsp:cNvSpPr/>
      </dsp:nvSpPr>
      <dsp:spPr>
        <a:xfrm>
          <a:off x="0" y="2788511"/>
          <a:ext cx="11041591" cy="4536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AE1659-5D71-414F-977F-6ABC074A31B5}">
      <dsp:nvSpPr>
        <dsp:cNvPr id="0" name=""/>
        <dsp:cNvSpPr/>
      </dsp:nvSpPr>
      <dsp:spPr>
        <a:xfrm>
          <a:off x="552079" y="2522831"/>
          <a:ext cx="7729113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42" tIns="0" rIns="292142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Оценка качества образования</a:t>
          </a:r>
        </a:p>
      </dsp:txBody>
      <dsp:txXfrm>
        <a:off x="578018" y="2548770"/>
        <a:ext cx="7677235" cy="479482"/>
      </dsp:txXfrm>
    </dsp:sp>
    <dsp:sp modelId="{746EE030-4E72-4816-AC0A-452D434B1762}">
      <dsp:nvSpPr>
        <dsp:cNvPr id="0" name=""/>
        <dsp:cNvSpPr/>
      </dsp:nvSpPr>
      <dsp:spPr>
        <a:xfrm>
          <a:off x="0" y="3604991"/>
          <a:ext cx="11041591" cy="4536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57285B-578E-4EF1-8393-0075B80C1B28}">
      <dsp:nvSpPr>
        <dsp:cNvPr id="0" name=""/>
        <dsp:cNvSpPr/>
      </dsp:nvSpPr>
      <dsp:spPr>
        <a:xfrm>
          <a:off x="552079" y="3339311"/>
          <a:ext cx="7729113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42" tIns="0" rIns="292142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Инклюзивное образование </a:t>
          </a:r>
        </a:p>
      </dsp:txBody>
      <dsp:txXfrm>
        <a:off x="578018" y="3365250"/>
        <a:ext cx="7677235" cy="479482"/>
      </dsp:txXfrm>
    </dsp:sp>
    <dsp:sp modelId="{AA6D2811-8697-4D4D-8AE7-EFC4FC48492A}">
      <dsp:nvSpPr>
        <dsp:cNvPr id="0" name=""/>
        <dsp:cNvSpPr/>
      </dsp:nvSpPr>
      <dsp:spPr>
        <a:xfrm>
          <a:off x="0" y="4421471"/>
          <a:ext cx="11041591" cy="4536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AEA876-41B4-49BC-95B5-76EC328DFE0C}">
      <dsp:nvSpPr>
        <dsp:cNvPr id="0" name=""/>
        <dsp:cNvSpPr/>
      </dsp:nvSpPr>
      <dsp:spPr>
        <a:xfrm>
          <a:off x="552079" y="4155791"/>
          <a:ext cx="7729113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42" tIns="0" rIns="292142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Осуществление педагогической диагностики </a:t>
          </a:r>
        </a:p>
      </dsp:txBody>
      <dsp:txXfrm>
        <a:off x="578018" y="4181730"/>
        <a:ext cx="7677235" cy="479482"/>
      </dsp:txXfrm>
    </dsp:sp>
    <dsp:sp modelId="{34614B9E-BBB2-493D-AB2B-C6DB1491B91B}">
      <dsp:nvSpPr>
        <dsp:cNvPr id="0" name=""/>
        <dsp:cNvSpPr/>
      </dsp:nvSpPr>
      <dsp:spPr>
        <a:xfrm>
          <a:off x="0" y="5237951"/>
          <a:ext cx="11041591" cy="4536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808382-4870-44D1-BB20-C7CD0D1C02C0}">
      <dsp:nvSpPr>
        <dsp:cNvPr id="0" name=""/>
        <dsp:cNvSpPr/>
      </dsp:nvSpPr>
      <dsp:spPr>
        <a:xfrm>
          <a:off x="552079" y="4972271"/>
          <a:ext cx="7729113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42" tIns="0" rIns="292142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Реализация стратегии по противодействию экстремизму  </a:t>
          </a:r>
        </a:p>
      </dsp:txBody>
      <dsp:txXfrm>
        <a:off x="578018" y="4998210"/>
        <a:ext cx="7677235" cy="479482"/>
      </dsp:txXfrm>
    </dsp:sp>
    <dsp:sp modelId="{3930984D-D137-4AB6-8DF6-7D4A24F3EF80}">
      <dsp:nvSpPr>
        <dsp:cNvPr id="0" name=""/>
        <dsp:cNvSpPr/>
      </dsp:nvSpPr>
      <dsp:spPr>
        <a:xfrm>
          <a:off x="0" y="6054431"/>
          <a:ext cx="11041591" cy="4536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62613D-A828-47EE-AC6D-9081BAB4F5AF}">
      <dsp:nvSpPr>
        <dsp:cNvPr id="0" name=""/>
        <dsp:cNvSpPr/>
      </dsp:nvSpPr>
      <dsp:spPr>
        <a:xfrm>
          <a:off x="552079" y="5788751"/>
          <a:ext cx="7729113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42" tIns="0" rIns="292142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Просветительская работа с родителями </a:t>
          </a:r>
        </a:p>
      </dsp:txBody>
      <dsp:txXfrm>
        <a:off x="578018" y="5814690"/>
        <a:ext cx="7677235" cy="4794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82AC70-8BD5-4F78-AA88-F0EE4A6655A1}">
      <dsp:nvSpPr>
        <dsp:cNvPr id="0" name=""/>
        <dsp:cNvSpPr/>
      </dsp:nvSpPr>
      <dsp:spPr>
        <a:xfrm>
          <a:off x="606847" y="2509"/>
          <a:ext cx="2853889" cy="171233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Запросы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Мониторинги   </a:t>
          </a:r>
        </a:p>
      </dsp:txBody>
      <dsp:txXfrm>
        <a:off x="606847" y="2509"/>
        <a:ext cx="2853889" cy="1712333"/>
      </dsp:txXfrm>
    </dsp:sp>
    <dsp:sp modelId="{FB071589-518A-4736-9871-4B1D04C338AC}">
      <dsp:nvSpPr>
        <dsp:cNvPr id="0" name=""/>
        <dsp:cNvSpPr/>
      </dsp:nvSpPr>
      <dsp:spPr>
        <a:xfrm>
          <a:off x="3746126" y="2509"/>
          <a:ext cx="2853889" cy="171233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 err="1"/>
            <a:t>Госпаблики</a:t>
          </a:r>
          <a:r>
            <a:rPr lang="ru-RU" sz="2100" kern="1200" dirty="0"/>
            <a:t>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Фотоотчеты  </a:t>
          </a:r>
        </a:p>
      </dsp:txBody>
      <dsp:txXfrm>
        <a:off x="3746126" y="2509"/>
        <a:ext cx="2853889" cy="1712333"/>
      </dsp:txXfrm>
    </dsp:sp>
    <dsp:sp modelId="{1BA86FF7-7F9B-4BBB-84C3-084386C30850}">
      <dsp:nvSpPr>
        <dsp:cNvPr id="0" name=""/>
        <dsp:cNvSpPr/>
      </dsp:nvSpPr>
      <dsp:spPr>
        <a:xfrm>
          <a:off x="606847" y="2000232"/>
          <a:ext cx="2853889" cy="171233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четких требований к структуре и содержанию  методических материалов </a:t>
          </a:r>
        </a:p>
      </dsp:txBody>
      <dsp:txXfrm>
        <a:off x="606847" y="2000232"/>
        <a:ext cx="2853889" cy="1712333"/>
      </dsp:txXfrm>
    </dsp:sp>
    <dsp:sp modelId="{0C8977CC-3A40-4F4E-A3F2-277102377721}">
      <dsp:nvSpPr>
        <dsp:cNvPr id="0" name=""/>
        <dsp:cNvSpPr/>
      </dsp:nvSpPr>
      <dsp:spPr>
        <a:xfrm>
          <a:off x="3746126" y="2000232"/>
          <a:ext cx="2853889" cy="171233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Большое количество информационных систем и низкий уровень их интеграции </a:t>
          </a:r>
        </a:p>
      </dsp:txBody>
      <dsp:txXfrm>
        <a:off x="3746126" y="2000232"/>
        <a:ext cx="2853889" cy="1712333"/>
      </dsp:txXfrm>
    </dsp:sp>
    <dsp:sp modelId="{70967518-B044-4505-9C99-4015467C040F}">
      <dsp:nvSpPr>
        <dsp:cNvPr id="0" name=""/>
        <dsp:cNvSpPr/>
      </dsp:nvSpPr>
      <dsp:spPr>
        <a:xfrm>
          <a:off x="606847" y="3997954"/>
          <a:ext cx="2853889" cy="171233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четких рамок функционала педагогов  </a:t>
          </a:r>
        </a:p>
      </dsp:txBody>
      <dsp:txXfrm>
        <a:off x="606847" y="3997954"/>
        <a:ext cx="2853889" cy="1712333"/>
      </dsp:txXfrm>
    </dsp:sp>
    <dsp:sp modelId="{AF0A9284-7A9A-4BF2-8187-422DFE74B909}">
      <dsp:nvSpPr>
        <dsp:cNvPr id="0" name=""/>
        <dsp:cNvSpPr/>
      </dsp:nvSpPr>
      <dsp:spPr>
        <a:xfrm>
          <a:off x="3746126" y="3997954"/>
          <a:ext cx="2853889" cy="171233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единых требований к структуре и содержанию документов </a:t>
          </a:r>
        </a:p>
      </dsp:txBody>
      <dsp:txXfrm>
        <a:off x="3746126" y="3997954"/>
        <a:ext cx="2853889" cy="171233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F1B3BD-6848-4869-AEC6-BB546FCA7141}">
      <dsp:nvSpPr>
        <dsp:cNvPr id="0" name=""/>
        <dsp:cNvSpPr/>
      </dsp:nvSpPr>
      <dsp:spPr>
        <a:xfrm rot="5400000">
          <a:off x="529747" y="1963292"/>
          <a:ext cx="1736362" cy="197678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65185AC-D2F1-48A9-A15E-128FBD0D7EAE}">
      <dsp:nvSpPr>
        <dsp:cNvPr id="0" name=""/>
        <dsp:cNvSpPr/>
      </dsp:nvSpPr>
      <dsp:spPr>
        <a:xfrm>
          <a:off x="69717" y="38499"/>
          <a:ext cx="2923012" cy="2046014"/>
        </a:xfrm>
        <a:prstGeom prst="roundRect">
          <a:avLst>
            <a:gd name="adj" fmla="val 16670"/>
          </a:avLst>
        </a:prstGeom>
        <a:solidFill>
          <a:schemeClr val="accent6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kern="1200" dirty="0"/>
            <a:t>1 ЭТАП </a:t>
          </a:r>
        </a:p>
      </dsp:txBody>
      <dsp:txXfrm>
        <a:off x="169613" y="138395"/>
        <a:ext cx="2723220" cy="1846222"/>
      </dsp:txXfrm>
    </dsp:sp>
    <dsp:sp modelId="{5768A2EB-0F60-47A2-BEEE-33927806ABE9}">
      <dsp:nvSpPr>
        <dsp:cNvPr id="0" name=""/>
        <dsp:cNvSpPr/>
      </dsp:nvSpPr>
      <dsp:spPr>
        <a:xfrm>
          <a:off x="3147454" y="196194"/>
          <a:ext cx="4686210" cy="1653678"/>
        </a:xfrm>
        <a:prstGeom prst="rect">
          <a:avLst/>
        </a:prstGeom>
        <a:solidFill>
          <a:schemeClr val="accent6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Создание нормативно-правовой базы </a:t>
          </a:r>
        </a:p>
      </dsp:txBody>
      <dsp:txXfrm>
        <a:off x="3147454" y="196194"/>
        <a:ext cx="4686210" cy="1653678"/>
      </dsp:txXfrm>
    </dsp:sp>
    <dsp:sp modelId="{02830349-C8E3-4A76-82A0-3A7E06F2A49A}">
      <dsp:nvSpPr>
        <dsp:cNvPr id="0" name=""/>
        <dsp:cNvSpPr/>
      </dsp:nvSpPr>
      <dsp:spPr>
        <a:xfrm rot="5400000">
          <a:off x="3567705" y="4261641"/>
          <a:ext cx="1736362" cy="197678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ED4D62E-FC66-4F4C-AC5A-FEF39CF45650}">
      <dsp:nvSpPr>
        <dsp:cNvPr id="0" name=""/>
        <dsp:cNvSpPr/>
      </dsp:nvSpPr>
      <dsp:spPr>
        <a:xfrm>
          <a:off x="2539178" y="2327273"/>
          <a:ext cx="2923012" cy="2046014"/>
        </a:xfrm>
        <a:prstGeom prst="roundRect">
          <a:avLst>
            <a:gd name="adj" fmla="val 16670"/>
          </a:avLst>
        </a:prstGeom>
        <a:solidFill>
          <a:srgbClr val="9D9DD7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kern="1200" dirty="0"/>
            <a:t>2 ЭТАП </a:t>
          </a:r>
        </a:p>
      </dsp:txBody>
      <dsp:txXfrm>
        <a:off x="2639074" y="2427169"/>
        <a:ext cx="2723220" cy="1846222"/>
      </dsp:txXfrm>
    </dsp:sp>
    <dsp:sp modelId="{909105BF-1AAA-4125-BD75-1160741DA157}">
      <dsp:nvSpPr>
        <dsp:cNvPr id="0" name=""/>
        <dsp:cNvSpPr/>
      </dsp:nvSpPr>
      <dsp:spPr>
        <a:xfrm>
          <a:off x="5739691" y="2485877"/>
          <a:ext cx="5521442" cy="1653678"/>
        </a:xfrm>
        <a:prstGeom prst="rect">
          <a:avLst/>
        </a:prstGeom>
        <a:solidFill>
          <a:srgbClr val="CDCDEB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Реинжиниринг процессов 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Обучение подходам «Безбумажного управления»</a:t>
          </a:r>
        </a:p>
      </dsp:txBody>
      <dsp:txXfrm>
        <a:off x="5739691" y="2485877"/>
        <a:ext cx="5521442" cy="1653678"/>
      </dsp:txXfrm>
    </dsp:sp>
    <dsp:sp modelId="{04CCFABC-4769-4E1F-B4DE-BAA2DB8DB906}">
      <dsp:nvSpPr>
        <dsp:cNvPr id="0" name=""/>
        <dsp:cNvSpPr/>
      </dsp:nvSpPr>
      <dsp:spPr>
        <a:xfrm>
          <a:off x="5321898" y="4670000"/>
          <a:ext cx="2923012" cy="2046014"/>
        </a:xfrm>
        <a:prstGeom prst="roundRect">
          <a:avLst>
            <a:gd name="adj" fmla="val 1667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kern="1200" dirty="0"/>
            <a:t>3 ЭТАП </a:t>
          </a:r>
        </a:p>
      </dsp:txBody>
      <dsp:txXfrm>
        <a:off x="5421794" y="4769896"/>
        <a:ext cx="2723220" cy="1846222"/>
      </dsp:txXfrm>
    </dsp:sp>
    <dsp:sp modelId="{75C23CCB-175A-4407-8FEC-AB4664F9C6C7}">
      <dsp:nvSpPr>
        <dsp:cNvPr id="0" name=""/>
        <dsp:cNvSpPr/>
      </dsp:nvSpPr>
      <dsp:spPr>
        <a:xfrm>
          <a:off x="8405026" y="4830331"/>
          <a:ext cx="3592593" cy="1653678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Контроль за исполнением </a:t>
          </a:r>
        </a:p>
      </dsp:txBody>
      <dsp:txXfrm>
        <a:off x="8405026" y="4830331"/>
        <a:ext cx="3592593" cy="165367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449442-8C33-4B57-BEA7-B9654F014B07}">
      <dsp:nvSpPr>
        <dsp:cNvPr id="0" name=""/>
        <dsp:cNvSpPr/>
      </dsp:nvSpPr>
      <dsp:spPr>
        <a:xfrm>
          <a:off x="4713582" y="703700"/>
          <a:ext cx="147098" cy="644429"/>
        </a:xfrm>
        <a:custGeom>
          <a:avLst/>
          <a:gdLst/>
          <a:ahLst/>
          <a:cxnLst/>
          <a:rect l="0" t="0" r="0" b="0"/>
          <a:pathLst>
            <a:path>
              <a:moveTo>
                <a:pt x="147098" y="0"/>
              </a:moveTo>
              <a:lnTo>
                <a:pt x="147098" y="644429"/>
              </a:lnTo>
              <a:lnTo>
                <a:pt x="0" y="64442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FF7EF5-1865-4E70-9843-46CF0BA631BF}">
      <dsp:nvSpPr>
        <dsp:cNvPr id="0" name=""/>
        <dsp:cNvSpPr/>
      </dsp:nvSpPr>
      <dsp:spPr>
        <a:xfrm>
          <a:off x="6299993" y="3687690"/>
          <a:ext cx="1411763" cy="2941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098"/>
              </a:lnTo>
              <a:lnTo>
                <a:pt x="1411763" y="147098"/>
              </a:lnTo>
              <a:lnTo>
                <a:pt x="1411763" y="29419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07D757-7DAA-49BC-A28A-32088A4E6740}">
      <dsp:nvSpPr>
        <dsp:cNvPr id="0" name=""/>
        <dsp:cNvSpPr/>
      </dsp:nvSpPr>
      <dsp:spPr>
        <a:xfrm>
          <a:off x="4049212" y="6671681"/>
          <a:ext cx="379399" cy="6444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4429"/>
              </a:lnTo>
              <a:lnTo>
                <a:pt x="379399" y="6444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227BA0-D4A8-4B16-B356-887C116FEC3A}">
      <dsp:nvSpPr>
        <dsp:cNvPr id="0" name=""/>
        <dsp:cNvSpPr/>
      </dsp:nvSpPr>
      <dsp:spPr>
        <a:xfrm>
          <a:off x="5015224" y="5677017"/>
          <a:ext cx="91440" cy="29419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419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CF3D7B-C06D-44AC-AF63-AD87675593F6}">
      <dsp:nvSpPr>
        <dsp:cNvPr id="0" name=""/>
        <dsp:cNvSpPr/>
      </dsp:nvSpPr>
      <dsp:spPr>
        <a:xfrm>
          <a:off x="5015224" y="4682354"/>
          <a:ext cx="91440" cy="29419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419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2A3F54-2B77-4E2B-B001-2D8C0E2304DE}">
      <dsp:nvSpPr>
        <dsp:cNvPr id="0" name=""/>
        <dsp:cNvSpPr/>
      </dsp:nvSpPr>
      <dsp:spPr>
        <a:xfrm>
          <a:off x="5060944" y="3687690"/>
          <a:ext cx="1239049" cy="294196"/>
        </a:xfrm>
        <a:custGeom>
          <a:avLst/>
          <a:gdLst/>
          <a:ahLst/>
          <a:cxnLst/>
          <a:rect l="0" t="0" r="0" b="0"/>
          <a:pathLst>
            <a:path>
              <a:moveTo>
                <a:pt x="1239049" y="0"/>
              </a:moveTo>
              <a:lnTo>
                <a:pt x="1239049" y="147098"/>
              </a:lnTo>
              <a:lnTo>
                <a:pt x="0" y="147098"/>
              </a:lnTo>
              <a:lnTo>
                <a:pt x="0" y="29419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D0916D-72EA-4C83-BBCE-AFA27E4BFEB2}">
      <dsp:nvSpPr>
        <dsp:cNvPr id="0" name=""/>
        <dsp:cNvSpPr/>
      </dsp:nvSpPr>
      <dsp:spPr>
        <a:xfrm>
          <a:off x="6254273" y="2693027"/>
          <a:ext cx="91440" cy="29419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419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D95A8F-A472-4EC6-B94B-D9918AA44C20}">
      <dsp:nvSpPr>
        <dsp:cNvPr id="0" name=""/>
        <dsp:cNvSpPr/>
      </dsp:nvSpPr>
      <dsp:spPr>
        <a:xfrm>
          <a:off x="4860680" y="703700"/>
          <a:ext cx="1439313" cy="12888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41761"/>
              </a:lnTo>
              <a:lnTo>
                <a:pt x="1439313" y="1141761"/>
              </a:lnTo>
              <a:lnTo>
                <a:pt x="1439313" y="128885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C9AE70-6F56-4D63-AD53-852F83FAA370}">
      <dsp:nvSpPr>
        <dsp:cNvPr id="0" name=""/>
        <dsp:cNvSpPr/>
      </dsp:nvSpPr>
      <dsp:spPr>
        <a:xfrm>
          <a:off x="3448917" y="703700"/>
          <a:ext cx="1411763" cy="1288859"/>
        </a:xfrm>
        <a:custGeom>
          <a:avLst/>
          <a:gdLst/>
          <a:ahLst/>
          <a:cxnLst/>
          <a:rect l="0" t="0" r="0" b="0"/>
          <a:pathLst>
            <a:path>
              <a:moveTo>
                <a:pt x="1411763" y="0"/>
              </a:moveTo>
              <a:lnTo>
                <a:pt x="1411763" y="1141761"/>
              </a:lnTo>
              <a:lnTo>
                <a:pt x="0" y="1141761"/>
              </a:lnTo>
              <a:lnTo>
                <a:pt x="0" y="128885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B9A4D9-1915-4C2A-B50E-452B88CD8BAD}">
      <dsp:nvSpPr>
        <dsp:cNvPr id="0" name=""/>
        <dsp:cNvSpPr/>
      </dsp:nvSpPr>
      <dsp:spPr>
        <a:xfrm>
          <a:off x="3657628" y="3233"/>
          <a:ext cx="2406104" cy="700467"/>
        </a:xfrm>
        <a:prstGeom prst="rect">
          <a:avLst/>
        </a:prstGeom>
        <a:solidFill>
          <a:srgbClr val="C0000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Обращение</a:t>
          </a:r>
          <a:r>
            <a:rPr lang="ru-RU" sz="2900" kern="1200" dirty="0"/>
            <a:t>  </a:t>
          </a:r>
        </a:p>
      </dsp:txBody>
      <dsp:txXfrm>
        <a:off x="3657628" y="3233"/>
        <a:ext cx="2406104" cy="700467"/>
      </dsp:txXfrm>
    </dsp:sp>
    <dsp:sp modelId="{E7A71232-DD6C-4471-B3C7-8D8DFC7D5D20}">
      <dsp:nvSpPr>
        <dsp:cNvPr id="0" name=""/>
        <dsp:cNvSpPr/>
      </dsp:nvSpPr>
      <dsp:spPr>
        <a:xfrm>
          <a:off x="2156702" y="1992560"/>
          <a:ext cx="2584429" cy="700467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Сортировка по темам </a:t>
          </a:r>
        </a:p>
      </dsp:txBody>
      <dsp:txXfrm>
        <a:off x="2156702" y="1992560"/>
        <a:ext cx="2584429" cy="700467"/>
      </dsp:txXfrm>
    </dsp:sp>
    <dsp:sp modelId="{5DC74452-57DD-4D4C-A33A-7915B1B5A127}">
      <dsp:nvSpPr>
        <dsp:cNvPr id="0" name=""/>
        <dsp:cNvSpPr/>
      </dsp:nvSpPr>
      <dsp:spPr>
        <a:xfrm>
          <a:off x="5035328" y="1992560"/>
          <a:ext cx="2529331" cy="700467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Сортировка по регионам </a:t>
          </a:r>
        </a:p>
      </dsp:txBody>
      <dsp:txXfrm>
        <a:off x="5035328" y="1992560"/>
        <a:ext cx="2529331" cy="700467"/>
      </dsp:txXfrm>
    </dsp:sp>
    <dsp:sp modelId="{29B5FF19-06A1-4E2D-BC22-F9BA8CD5D3FD}">
      <dsp:nvSpPr>
        <dsp:cNvPr id="0" name=""/>
        <dsp:cNvSpPr/>
      </dsp:nvSpPr>
      <dsp:spPr>
        <a:xfrm>
          <a:off x="5037604" y="2987223"/>
          <a:ext cx="2524777" cy="700467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solidFill>
                <a:schemeClr val="bg1"/>
              </a:solidFill>
            </a:rPr>
            <a:t>Отправка в РОИВ</a:t>
          </a:r>
        </a:p>
      </dsp:txBody>
      <dsp:txXfrm>
        <a:off x="5037604" y="2987223"/>
        <a:ext cx="2524777" cy="700467"/>
      </dsp:txXfrm>
    </dsp:sp>
    <dsp:sp modelId="{08F8D1A6-84B4-4446-A759-18A42B149263}">
      <dsp:nvSpPr>
        <dsp:cNvPr id="0" name=""/>
        <dsp:cNvSpPr/>
      </dsp:nvSpPr>
      <dsp:spPr>
        <a:xfrm>
          <a:off x="3796278" y="3981887"/>
          <a:ext cx="2529331" cy="700467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тветы на вопросы </a:t>
          </a:r>
        </a:p>
      </dsp:txBody>
      <dsp:txXfrm>
        <a:off x="3796278" y="3981887"/>
        <a:ext cx="2529331" cy="700467"/>
      </dsp:txXfrm>
    </dsp:sp>
    <dsp:sp modelId="{555970C1-F91D-4BEA-B57E-55A366F41967}">
      <dsp:nvSpPr>
        <dsp:cNvPr id="0" name=""/>
        <dsp:cNvSpPr/>
      </dsp:nvSpPr>
      <dsp:spPr>
        <a:xfrm>
          <a:off x="3796278" y="4976550"/>
          <a:ext cx="2529331" cy="700467"/>
        </a:xfrm>
        <a:prstGeom prst="rect">
          <a:avLst/>
        </a:prstGeom>
        <a:solidFill>
          <a:srgbClr val="423D67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Контроль результата </a:t>
          </a:r>
        </a:p>
      </dsp:txBody>
      <dsp:txXfrm>
        <a:off x="3796278" y="4976550"/>
        <a:ext cx="2529331" cy="700467"/>
      </dsp:txXfrm>
    </dsp:sp>
    <dsp:sp modelId="{3FF1D505-F108-44CF-B2D4-9F98D796A4D0}">
      <dsp:nvSpPr>
        <dsp:cNvPr id="0" name=""/>
        <dsp:cNvSpPr/>
      </dsp:nvSpPr>
      <dsp:spPr>
        <a:xfrm>
          <a:off x="3796278" y="5971213"/>
          <a:ext cx="2529331" cy="700467"/>
        </a:xfrm>
        <a:prstGeom prst="rect">
          <a:avLst/>
        </a:prstGeom>
        <a:solidFill>
          <a:srgbClr val="C0000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Проблема не решена </a:t>
          </a:r>
        </a:p>
      </dsp:txBody>
      <dsp:txXfrm>
        <a:off x="3796278" y="5971213"/>
        <a:ext cx="2529331" cy="700467"/>
      </dsp:txXfrm>
    </dsp:sp>
    <dsp:sp modelId="{4B641B23-6DF0-4FB2-852F-8EEC5B82E9FD}">
      <dsp:nvSpPr>
        <dsp:cNvPr id="0" name=""/>
        <dsp:cNvSpPr/>
      </dsp:nvSpPr>
      <dsp:spPr>
        <a:xfrm>
          <a:off x="4428611" y="6965877"/>
          <a:ext cx="2585788" cy="700467"/>
        </a:xfrm>
        <a:prstGeom prst="rect">
          <a:avLst/>
        </a:prstGeom>
        <a:solidFill>
          <a:srgbClr val="423D67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Рособрнадзор </a:t>
          </a:r>
        </a:p>
      </dsp:txBody>
      <dsp:txXfrm>
        <a:off x="4428611" y="6965877"/>
        <a:ext cx="2585788" cy="700467"/>
      </dsp:txXfrm>
    </dsp:sp>
    <dsp:sp modelId="{22129331-1DA9-4143-97CF-34A2B8460A9C}">
      <dsp:nvSpPr>
        <dsp:cNvPr id="0" name=""/>
        <dsp:cNvSpPr/>
      </dsp:nvSpPr>
      <dsp:spPr>
        <a:xfrm>
          <a:off x="6619806" y="3981887"/>
          <a:ext cx="2183902" cy="700467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Решение проблем</a:t>
          </a:r>
        </a:p>
      </dsp:txBody>
      <dsp:txXfrm>
        <a:off x="6619806" y="3981887"/>
        <a:ext cx="2183902" cy="700467"/>
      </dsp:txXfrm>
    </dsp:sp>
    <dsp:sp modelId="{E0B8EAC7-F880-4316-8AD8-B2B956CD5CA7}">
      <dsp:nvSpPr>
        <dsp:cNvPr id="0" name=""/>
        <dsp:cNvSpPr/>
      </dsp:nvSpPr>
      <dsp:spPr>
        <a:xfrm>
          <a:off x="1896948" y="997896"/>
          <a:ext cx="2816634" cy="700467"/>
        </a:xfrm>
        <a:prstGeom prst="rect">
          <a:avLst/>
        </a:prstGeom>
        <a:solidFill>
          <a:srgbClr val="423D67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Банк Рособрнадзора  </a:t>
          </a:r>
        </a:p>
      </dsp:txBody>
      <dsp:txXfrm>
        <a:off x="1896948" y="997896"/>
        <a:ext cx="2816634" cy="7004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F0F3D3-884F-8E45-98AB-E8ADE6E0FD28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1425"/>
            <a:ext cx="47371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BCF3A-9B41-AC48-BBC4-8EC043A9334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923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478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233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234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7536420" y="0"/>
            <a:ext cx="7582932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548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10039700" y="0"/>
            <a:ext cx="5079650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6924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723034" y="-57713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965877" y="-200837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930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2848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869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101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10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24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875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6707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97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3202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9942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2914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32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487248" y="888"/>
            <a:ext cx="1530949" cy="1604132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4122" y="334963"/>
            <a:ext cx="900953" cy="816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116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6950503" y="0"/>
            <a:ext cx="8168855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34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1905000" y="11"/>
            <a:ext cx="1352732" cy="1339448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3257738" y="11"/>
            <a:ext cx="1861619" cy="13394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3480750" y="220281"/>
            <a:ext cx="1638602" cy="87677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6444827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761796" y="11"/>
            <a:ext cx="1352732" cy="1339448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2114534" y="11"/>
            <a:ext cx="3004823" cy="1339448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14535" y="220281"/>
            <a:ext cx="3004823" cy="87677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4059931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2181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290360" y="11"/>
            <a:ext cx="1352732" cy="1339448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643096" y="11"/>
            <a:ext cx="3476261" cy="1339448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1485951" y="220281"/>
            <a:ext cx="3633407" cy="87677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17759600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7501985" y="4837850"/>
            <a:ext cx="7617368" cy="5853974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3495703" y="2"/>
            <a:ext cx="2933003" cy="2687688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961538" y="3592719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5278" y="3274936"/>
            <a:ext cx="8027766" cy="934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73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364893" y="9307592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519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5791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154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48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831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436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162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5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24" r:id="rId13"/>
    <p:sldLayoutId id="2147483741" r:id="rId14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5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2383" y="2361"/>
          <a:ext cx="2381" cy="2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3" imgH="476" progId="TCLayout.ActiveDocument.1">
                  <p:embed/>
                </p:oleObj>
              </mc:Choice>
              <mc:Fallback>
                <p:oleObj name="think-cell Slide" r:id="rId20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2F748563-03E9-41A8-A6E7-4A74CBEB3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383" y="2361"/>
                        <a:ext cx="2381" cy="2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373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733" r:id="rId13"/>
    <p:sldLayoutId id="2147483735" r:id="rId14"/>
    <p:sldLayoutId id="2147483736" r:id="rId15"/>
    <p:sldLayoutId id="2147483737" r:id="rId16"/>
    <p:sldLayoutId id="2147483738" r:id="rId17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7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595332" y="3826600"/>
            <a:ext cx="9397754" cy="5570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r>
              <a:rPr lang="ru-RU" sz="24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-ПРАВОВОЕ РЕГУЛИРОВАНИЕ  БЮРОКРАТИЧЕСКОЙ  НАГРУЗКИ В СИСТЕМЕ ОБРАЗОВАНИЯ: ПРАКТИКА ПРИМЕНЕНИЯ, ВЫЯВЛЕННЫЕ ПРОБЛЕМЫ И ПУТИ ИХ РЕШЕНИЯ </a:t>
            </a:r>
          </a:p>
          <a:p>
            <a:endParaRPr lang="ru-RU" sz="36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тыникова Н.В.</a:t>
            </a:r>
          </a:p>
          <a:p>
            <a:r>
              <a:rPr lang="ru-RU" sz="2400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лен общественного совета Рособрнадзора, руководитель-координатор межведомственной рабочей группы по снижению бюрократической нагрузки, канд. пед. наук., доцент </a:t>
            </a:r>
          </a:p>
          <a:p>
            <a:endParaRPr lang="ru-RU" sz="2400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endParaRPr lang="ru-RU" sz="36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44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32" y="695384"/>
            <a:ext cx="2136626" cy="1935349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-764739" y="7205470"/>
            <a:ext cx="2451688" cy="2284219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442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338933A-C936-60B7-DEE2-886AC41D31A5}"/>
              </a:ext>
            </a:extLst>
          </p:cNvPr>
          <p:cNvSpPr txBox="1"/>
          <p:nvPr/>
        </p:nvSpPr>
        <p:spPr>
          <a:xfrm>
            <a:off x="2427095" y="742478"/>
            <a:ext cx="10745535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ОСНОВНЫЕ ЭТАПЫ СНИЖЕНИЯ БЮРОКРАТИЧЕСКОЙ НАГРУЗКИ    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9E9D6CEF-E7D1-57CF-AE27-B232AC5CA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1204034"/>
              </p:ext>
            </p:extLst>
          </p:nvPr>
        </p:nvGraphicFramePr>
        <p:xfrm>
          <a:off x="1819980" y="2990762"/>
          <a:ext cx="11997620" cy="67197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84274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0152AA-019F-4902-F691-6912148B0D0C}"/>
              </a:ext>
            </a:extLst>
          </p:cNvPr>
          <p:cNvSpPr txBox="1"/>
          <p:nvPr/>
        </p:nvSpPr>
        <p:spPr>
          <a:xfrm>
            <a:off x="2427095" y="742478"/>
            <a:ext cx="107455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НОВЫЕ НОРМЫ 273-ФЗ    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D80613-6D18-D105-A910-D0C3455637D6}"/>
              </a:ext>
            </a:extLst>
          </p:cNvPr>
          <p:cNvSpPr txBox="1"/>
          <p:nvPr/>
        </p:nvSpPr>
        <p:spPr>
          <a:xfrm>
            <a:off x="666044" y="2227805"/>
            <a:ext cx="3799115" cy="6463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sz="3600" dirty="0"/>
              <a:t> 1 марта 2025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B7879E1-DF6A-6FB5-93C5-7641181E93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8664" y="1904640"/>
            <a:ext cx="5871522" cy="80996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F7F5246-4361-94DF-2F9B-B313CDB549FC}"/>
              </a:ext>
            </a:extLst>
          </p:cNvPr>
          <p:cNvSpPr/>
          <p:nvPr/>
        </p:nvSpPr>
        <p:spPr>
          <a:xfrm>
            <a:off x="666044" y="3341511"/>
            <a:ext cx="6650511" cy="1603022"/>
          </a:xfrm>
          <a:prstGeom prst="rect">
            <a:avLst/>
          </a:prstGeom>
          <a:solidFill>
            <a:srgbClr val="CDCDE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2400" b="1" dirty="0">
                <a:solidFill>
                  <a:srgbClr val="423D67"/>
                </a:solidFill>
              </a:rPr>
              <a:t>ФОИВ наделены полномочиями по формированию перечня документов педагогов всех уровней образования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5B4E4FF-AF0C-1CCF-0A24-61710799F681}"/>
              </a:ext>
            </a:extLst>
          </p:cNvPr>
          <p:cNvSpPr/>
          <p:nvPr/>
        </p:nvSpPr>
        <p:spPr>
          <a:xfrm>
            <a:off x="666044" y="5292224"/>
            <a:ext cx="6650511" cy="1603022"/>
          </a:xfrm>
          <a:prstGeom prst="rect">
            <a:avLst/>
          </a:prstGeom>
          <a:solidFill>
            <a:srgbClr val="CDCDE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2400" b="1" dirty="0">
                <a:solidFill>
                  <a:srgbClr val="423D67"/>
                </a:solidFill>
              </a:rPr>
              <a:t>Образовательным организациям разрешено не отвечать на запросы, не имеющие оснований</a:t>
            </a:r>
            <a:r>
              <a:rPr lang="ru-RU" sz="2400" b="1" i="0" dirty="0">
                <a:solidFill>
                  <a:srgbClr val="423D67"/>
                </a:solidFill>
              </a:rPr>
              <a:t> предусмотренных законодательством РФ</a:t>
            </a:r>
            <a:endParaRPr lang="ru-RU" sz="2400" b="1" dirty="0">
              <a:solidFill>
                <a:srgbClr val="423D67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789E9B1-D808-D9C2-6F74-AC09663C0FD6}"/>
              </a:ext>
            </a:extLst>
          </p:cNvPr>
          <p:cNvSpPr/>
          <p:nvPr/>
        </p:nvSpPr>
        <p:spPr>
          <a:xfrm>
            <a:off x="666044" y="7242937"/>
            <a:ext cx="6650511" cy="1603022"/>
          </a:xfrm>
          <a:prstGeom prst="rect">
            <a:avLst/>
          </a:prstGeom>
          <a:solidFill>
            <a:srgbClr val="CDCDE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2400" b="1" dirty="0">
                <a:solidFill>
                  <a:srgbClr val="423D67"/>
                </a:solidFill>
              </a:rPr>
              <a:t>Запрещено запрашивать документы за пределами утвержденного ФОИВ перечня </a:t>
            </a:r>
          </a:p>
        </p:txBody>
      </p:sp>
    </p:spTree>
    <p:extLst>
      <p:ext uri="{BB962C8B-B14F-4D97-AF65-F5344CB8AC3E}">
        <p14:creationId xmlns:p14="http://schemas.microsoft.com/office/powerpoint/2010/main" val="27250889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A6DB27-BA29-C092-928D-BECF5EFA34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4E9ACC3-8BA4-09A5-10B2-B2C5810B035E}"/>
              </a:ext>
            </a:extLst>
          </p:cNvPr>
          <p:cNvSpPr txBox="1"/>
          <p:nvPr/>
        </p:nvSpPr>
        <p:spPr>
          <a:xfrm>
            <a:off x="2427095" y="742478"/>
            <a:ext cx="107455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ПОДЗАКОННЫЕ АКТЫ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B9BC9E-0F1D-EC1E-0150-6C1C18AE09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310" y="2432244"/>
            <a:ext cx="5463823" cy="777282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FE1953F-E141-B1A9-C8C6-8C18448D9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7136" y="2376161"/>
            <a:ext cx="5463823" cy="782890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Фигура, имеющая форму буквы L 3">
            <a:extLst>
              <a:ext uri="{FF2B5EF4-FFF2-40B4-BE49-F238E27FC236}">
                <a16:creationId xmlns:a16="http://schemas.microsoft.com/office/drawing/2014/main" id="{EE06F8C3-2DEF-8F9B-ADEA-B69895FBAD0E}"/>
              </a:ext>
            </a:extLst>
          </p:cNvPr>
          <p:cNvSpPr/>
          <p:nvPr/>
        </p:nvSpPr>
        <p:spPr>
          <a:xfrm rot="18575806">
            <a:off x="1728211" y="2922786"/>
            <a:ext cx="368661" cy="640224"/>
          </a:xfrm>
          <a:prstGeom prst="corner">
            <a:avLst>
              <a:gd name="adj1" fmla="val 43709"/>
              <a:gd name="adj2" fmla="val 5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63031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580428" y="627297"/>
            <a:ext cx="10745535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ПЕРЕЧНИ ДОКУМЕНТОВ ПЕДАГОГИЧЕСКИХ РАБОТНИКОВ 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3339377" y="2673627"/>
            <a:ext cx="9187061" cy="973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32" dirty="0"/>
          </a:p>
          <a:p>
            <a:endParaRPr lang="ru-RU" sz="1432" dirty="0"/>
          </a:p>
          <a:p>
            <a:endParaRPr lang="ru-RU" sz="1432" dirty="0"/>
          </a:p>
          <a:p>
            <a:r>
              <a:rPr lang="ru-RU" sz="1432" dirty="0"/>
              <a:t>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D81000E-6CB2-AD59-04FB-BBE02A4DF18D}"/>
              </a:ext>
            </a:extLst>
          </p:cNvPr>
          <p:cNvSpPr/>
          <p:nvPr/>
        </p:nvSpPr>
        <p:spPr>
          <a:xfrm>
            <a:off x="923058" y="2815053"/>
            <a:ext cx="3098594" cy="528155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Воспитатель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Журнал посещаемости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Календарно-тематический план  </a:t>
            </a:r>
          </a:p>
          <a:p>
            <a:pPr marL="425230" indent="-425230">
              <a:buAutoNum type="arabicPeriod"/>
            </a:pPr>
            <a:endParaRPr lang="ru-RU" sz="1736" dirty="0">
              <a:solidFill>
                <a:srgbClr val="423D67"/>
              </a:solidFill>
            </a:endParaRPr>
          </a:p>
          <a:p>
            <a:pPr algn="ctr"/>
            <a:endParaRPr lang="ru-RU" sz="1736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92BD6E8-46B8-4448-2E18-AEAFAB8D1C40}"/>
              </a:ext>
            </a:extLst>
          </p:cNvPr>
          <p:cNvSpPr/>
          <p:nvPr/>
        </p:nvSpPr>
        <p:spPr>
          <a:xfrm>
            <a:off x="4369814" y="2815052"/>
            <a:ext cx="3193608" cy="5281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Учитель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Рабочая программа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Журнал внеурочной деятельности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План воспитательной работы </a:t>
            </a:r>
          </a:p>
          <a:p>
            <a:pPr marL="425230" indent="-425230">
              <a:buAutoNum type="arabicPeriod"/>
            </a:pPr>
            <a:r>
              <a:rPr lang="ru-RU" sz="1736" dirty="0">
                <a:solidFill>
                  <a:srgbClr val="423D67"/>
                </a:solidFill>
              </a:rPr>
              <a:t>Характеристика на обучающегося по запросу</a:t>
            </a:r>
          </a:p>
          <a:p>
            <a:pPr algn="ctr"/>
            <a:endParaRPr lang="ru-RU" sz="1736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4960" b="1" dirty="0">
                <a:solidFill>
                  <a:srgbClr val="423D67"/>
                </a:solidFill>
              </a:rPr>
              <a:t> 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EC3D4BA-DD85-B186-EDFF-129341C9B0C3}"/>
              </a:ext>
            </a:extLst>
          </p:cNvPr>
          <p:cNvSpPr/>
          <p:nvPr/>
        </p:nvSpPr>
        <p:spPr>
          <a:xfrm>
            <a:off x="7830252" y="2815053"/>
            <a:ext cx="3077234" cy="5281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3156" b="1" dirty="0">
                <a:solidFill>
                  <a:srgbClr val="423D67"/>
                </a:solidFill>
              </a:rPr>
              <a:t> </a:t>
            </a: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Преподаватель  СПО </a:t>
            </a:r>
          </a:p>
          <a:p>
            <a:pPr algn="ctr"/>
            <a:endParaRPr lang="ru-RU" sz="1800" b="1" dirty="0">
              <a:solidFill>
                <a:srgbClr val="423D67"/>
              </a:solidFill>
            </a:endParaRP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Рабочая программа</a:t>
            </a:r>
            <a:r>
              <a:rPr lang="ru-RU" sz="1800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дисциплины, модуля, курса, практики</a:t>
            </a:r>
            <a:r>
              <a:rPr lang="ru-RU" sz="1800" dirty="0">
                <a:solidFill>
                  <a:srgbClr val="423D67"/>
                </a:solidFill>
              </a:rPr>
              <a:t>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Журнал практики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Экзаменационная</a:t>
            </a:r>
            <a:r>
              <a:rPr lang="en-US" sz="1800" dirty="0">
                <a:solidFill>
                  <a:srgbClr val="423D67"/>
                </a:solidFill>
              </a:rPr>
              <a:t>/</a:t>
            </a:r>
            <a:r>
              <a:rPr lang="ru-RU" sz="1800" dirty="0">
                <a:solidFill>
                  <a:srgbClr val="423D67"/>
                </a:solidFill>
              </a:rPr>
              <a:t> зачетная ведомости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План воспитательной работы (для куратора) </a:t>
            </a:r>
          </a:p>
          <a:p>
            <a:pPr marL="425230" indent="-425230">
              <a:buAutoNum type="arabicPeriod"/>
            </a:pPr>
            <a:r>
              <a:rPr lang="ru-RU" sz="1800" dirty="0">
                <a:solidFill>
                  <a:srgbClr val="423D67"/>
                </a:solidFill>
              </a:rPr>
              <a:t>Характеристика на обучающегося по запросу (для куратора)</a:t>
            </a:r>
          </a:p>
          <a:p>
            <a:pPr algn="ctr"/>
            <a:endParaRPr lang="ru-RU" sz="1800" b="1" dirty="0">
              <a:solidFill>
                <a:srgbClr val="423D67"/>
              </a:solidFill>
            </a:endParaRPr>
          </a:p>
          <a:p>
            <a:pPr algn="ctr"/>
            <a:endParaRPr lang="ru-RU" sz="173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A8732A9-FE62-CBDC-9F7D-1DF566799480}"/>
              </a:ext>
            </a:extLst>
          </p:cNvPr>
          <p:cNvSpPr/>
          <p:nvPr/>
        </p:nvSpPr>
        <p:spPr>
          <a:xfrm>
            <a:off x="11246405" y="2815053"/>
            <a:ext cx="3193607" cy="5281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Преподаватель </a:t>
            </a:r>
          </a:p>
          <a:p>
            <a:pPr algn="ctr"/>
            <a:r>
              <a:rPr lang="ru-RU" sz="2800" b="1" dirty="0">
                <a:solidFill>
                  <a:srgbClr val="423D67"/>
                </a:solidFill>
              </a:rPr>
              <a:t>Вуза</a:t>
            </a:r>
          </a:p>
          <a:p>
            <a:pPr algn="ctr"/>
            <a:endParaRPr lang="ru-RU" sz="2800" b="1" dirty="0">
              <a:solidFill>
                <a:srgbClr val="423D67"/>
              </a:solidFill>
            </a:endParaRP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бочие программы учебных предметов, курсов, дисциплины, модулей, иных компонентов по соответствующей ОП </a:t>
            </a: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r>
              <a:rPr lang="ru-RU" sz="1736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ценочные и методические материалы по соответствующей ОП </a:t>
            </a: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endParaRPr lang="ru-RU" sz="1736" kern="100" dirty="0">
              <a:solidFill>
                <a:srgbClr val="423D67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25230" indent="-425230">
              <a:buFont typeface="Times New Roman" panose="02020603050405020304" pitchFamily="18" charset="0"/>
              <a:buAutoNum type="arabicPeriod"/>
            </a:pPr>
            <a:endParaRPr lang="ru-RU" sz="1736" kern="100" dirty="0">
              <a:solidFill>
                <a:srgbClr val="423D67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ru-RU" sz="1736" b="1" dirty="0">
              <a:solidFill>
                <a:srgbClr val="423D67"/>
              </a:solidFill>
            </a:endParaRPr>
          </a:p>
          <a:p>
            <a:pPr algn="ctr"/>
            <a:endParaRPr lang="ru-RU" sz="173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  <a:p>
            <a:pPr algn="ctr"/>
            <a:endParaRPr lang="ru-RU" sz="3156" b="1" dirty="0">
              <a:solidFill>
                <a:srgbClr val="423D67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41B044E-24FF-6A6E-DDC3-34A71FD1A7DF}"/>
              </a:ext>
            </a:extLst>
          </p:cNvPr>
          <p:cNvSpPr/>
          <p:nvPr/>
        </p:nvSpPr>
        <p:spPr>
          <a:xfrm>
            <a:off x="923058" y="8918222"/>
            <a:ext cx="13516954" cy="914400"/>
          </a:xfrm>
          <a:prstGeom prst="rect">
            <a:avLst/>
          </a:prstGeom>
          <a:solidFill>
            <a:srgbClr val="CDCDE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423D67"/>
                </a:solidFill>
              </a:rPr>
              <a:t>ПРИ РЕАЛИЗАЦИИ ОСНОВНОЙ ОБРАЗОВАТЕЛЬНОЙ ПРОГРАММЫ </a:t>
            </a:r>
          </a:p>
        </p:txBody>
      </p:sp>
    </p:spTree>
    <p:extLst>
      <p:ext uri="{BB962C8B-B14F-4D97-AF65-F5344CB8AC3E}">
        <p14:creationId xmlns:p14="http://schemas.microsoft.com/office/powerpoint/2010/main" val="31273303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86F0248-1AA2-BAFB-B169-6C8FFAD32C9B}"/>
              </a:ext>
            </a:extLst>
          </p:cNvPr>
          <p:cNvSpPr txBox="1"/>
          <p:nvPr/>
        </p:nvSpPr>
        <p:spPr>
          <a:xfrm>
            <a:off x="1143001" y="4361698"/>
            <a:ext cx="6416674" cy="51837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0" i="0" dirty="0">
                <a:solidFill>
                  <a:srgbClr val="2AC1A0"/>
                </a:solidFill>
                <a:effectLst/>
                <a:latin typeface="ITCFranklinGothicW10-Bk 862339"/>
              </a:rPr>
              <a:t>Пр-685, п.9 г)</a:t>
            </a:r>
            <a:endParaRPr lang="ru-RU" b="0" i="0" dirty="0">
              <a:solidFill>
                <a:srgbClr val="020C22"/>
              </a:solidFill>
              <a:effectLst/>
              <a:latin typeface="ITCFranklinGothicW10-Bk 862339"/>
            </a:endParaRPr>
          </a:p>
          <a:p>
            <a:r>
              <a:rPr lang="ru-RU" b="0" i="0" dirty="0">
                <a:solidFill>
                  <a:srgbClr val="020C22"/>
                </a:solidFill>
                <a:effectLst/>
                <a:latin typeface="ITCFranklinGothicW10-Bk 862339"/>
              </a:rPr>
              <a:t>Рекомендовать высшим должностным лицам субъектов Российской Федерации реализовать комплекс дополнительных мер</a:t>
            </a:r>
            <a:r>
              <a:rPr lang="ru-RU" dirty="0">
                <a:solidFill>
                  <a:srgbClr val="020C22"/>
                </a:solidFill>
                <a:latin typeface="ITCFranklinGothicW10-Bk 862339"/>
              </a:rPr>
              <a:t> </a:t>
            </a:r>
            <a:r>
              <a:rPr lang="ru-RU" b="0" i="0" dirty="0">
                <a:solidFill>
                  <a:srgbClr val="020C22"/>
                </a:solidFill>
                <a:effectLst/>
                <a:latin typeface="ITCFranklinGothicW10-Bk 862339"/>
              </a:rPr>
              <a:t>по выполнению требований законодательства об образовании в части, касающейся снижения бюрократической нагрузки на педагогических работников.</a:t>
            </a:r>
          </a:p>
          <a:p>
            <a:endParaRPr lang="ru-RU" dirty="0">
              <a:solidFill>
                <a:srgbClr val="020C22"/>
              </a:solidFill>
              <a:latin typeface="ITCFranklinGothicW10-Bk 862339"/>
            </a:endParaRPr>
          </a:p>
          <a:p>
            <a:r>
              <a:rPr lang="ru-RU" dirty="0">
                <a:solidFill>
                  <a:srgbClr val="020C22"/>
                </a:solidFill>
                <a:latin typeface="ITCFranklinGothicW10-Bk 862339"/>
              </a:rPr>
              <a:t>Ответственные: </a:t>
            </a:r>
            <a:r>
              <a:rPr lang="ru-RU" b="0" i="0" dirty="0">
                <a:solidFill>
                  <a:srgbClr val="020C22"/>
                </a:solidFill>
                <a:effectLst/>
                <a:latin typeface="ITCFranklinGothicW10-Bk 862339"/>
              </a:rPr>
              <a:t>высшие должностные лица субъектов Российской Федерации</a:t>
            </a:r>
          </a:p>
          <a:p>
            <a:endParaRPr lang="ru-RU" dirty="0">
              <a:solidFill>
                <a:srgbClr val="020C22"/>
              </a:solidFill>
              <a:latin typeface="ITCFranklinGothicW10-Bk 862339"/>
            </a:endParaRPr>
          </a:p>
          <a:p>
            <a:r>
              <a:rPr lang="ru-RU" dirty="0">
                <a:solidFill>
                  <a:srgbClr val="020C22"/>
                </a:solidFill>
                <a:latin typeface="ITCFranklinGothicW10-Bk 862339"/>
              </a:rPr>
              <a:t>Срок исполнения: </a:t>
            </a:r>
            <a:r>
              <a:rPr lang="ru-RU" b="1" dirty="0">
                <a:solidFill>
                  <a:srgbClr val="020C22"/>
                </a:solidFill>
                <a:latin typeface="ITCFranklinGothicW10-Bk 862339"/>
              </a:rPr>
              <a:t>до 1 сентября 2025 года</a:t>
            </a:r>
            <a:endParaRPr lang="ru-RU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B3BCAB-5E5C-FB75-E2C5-D6D229996002}"/>
              </a:ext>
            </a:extLst>
          </p:cNvPr>
          <p:cNvSpPr txBox="1"/>
          <p:nvPr/>
        </p:nvSpPr>
        <p:spPr>
          <a:xfrm>
            <a:off x="1056217" y="2551288"/>
            <a:ext cx="11149090" cy="2088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ручение Президента Российской Федерации </a:t>
            </a:r>
          </a:p>
          <a:p>
            <a:pPr algn="l">
              <a:lnSpc>
                <a:spcPts val="2100"/>
              </a:lnSpc>
              <a:spcAft>
                <a:spcPts val="2175"/>
              </a:spcAft>
              <a:buNone/>
            </a:pPr>
            <a:r>
              <a:rPr lang="ru-RU" dirty="0"/>
              <a:t>В.В. Путина по </a:t>
            </a:r>
            <a:r>
              <a:rPr lang="ru-RU" b="0" i="0" dirty="0">
                <a:solidFill>
                  <a:srgbClr val="020C22"/>
                </a:solidFill>
                <a:effectLst/>
                <a:latin typeface="ITCFranklinGothicW10-Bk 862339"/>
              </a:rPr>
              <a:t>итогам </a:t>
            </a:r>
            <a:r>
              <a:rPr lang="ru-RU" dirty="0">
                <a:solidFill>
                  <a:srgbClr val="020C22"/>
                </a:solidFill>
                <a:latin typeface="ITCFranklinGothicW10-Bk 862339"/>
              </a:rPr>
              <a:t>заседания</a:t>
            </a:r>
            <a:r>
              <a:rPr lang="ru-RU" b="0" i="0" dirty="0">
                <a:solidFill>
                  <a:srgbClr val="020C22"/>
                </a:solidFill>
                <a:effectLst/>
                <a:latin typeface="ITCFranklinGothicW10-Bk 862339"/>
              </a:rPr>
              <a:t> Совета при Президенте по науке и образованию, прошедшего 6 февраля 2025 года.</a:t>
            </a:r>
          </a:p>
          <a:p>
            <a:pPr>
              <a:buNone/>
            </a:pPr>
            <a:br>
              <a:rPr lang="ru-RU" b="0" i="0" dirty="0">
                <a:solidFill>
                  <a:srgbClr val="020C22"/>
                </a:solidFill>
                <a:effectLst/>
                <a:latin typeface="ITCFranklinGothicW10-Bk 862339"/>
              </a:rPr>
            </a:br>
            <a:endParaRPr lang="ru-RU" dirty="0"/>
          </a:p>
        </p:txBody>
      </p:sp>
      <p:sp>
        <p:nvSpPr>
          <p:cNvPr id="5" name="Прямоугольник 12">
            <a:extLst>
              <a:ext uri="{FF2B5EF4-FFF2-40B4-BE49-F238E27FC236}">
                <a16:creationId xmlns:a16="http://schemas.microsoft.com/office/drawing/2014/main" id="{1AA00078-B9E5-552E-83C7-DB0D8B7CFED2}"/>
              </a:ext>
            </a:extLst>
          </p:cNvPr>
          <p:cNvSpPr/>
          <p:nvPr/>
        </p:nvSpPr>
        <p:spPr>
          <a:xfrm>
            <a:off x="1876180" y="395217"/>
            <a:ext cx="11930129" cy="1323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РУЧЕНИЕ ПРЕЗИДЕНТА РОССИЙСКОЙ ФЕДЕРАЦИИ ПО СНИЖЕНИЮ БЮРОКРАТИЧЕСКОЙ НАГРУЗКИ  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4D07F1BD-75C8-8F2F-7DD0-3BEAAE8EDB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1244" y="4625976"/>
            <a:ext cx="7246325" cy="4655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2658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E27CCE-2B2C-05C6-E7CE-A114D8CB3E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61B8EDE-48FF-36C8-9BA0-92C424B221BF}"/>
              </a:ext>
            </a:extLst>
          </p:cNvPr>
          <p:cNvSpPr txBox="1"/>
          <p:nvPr/>
        </p:nvSpPr>
        <p:spPr>
          <a:xfrm>
            <a:off x="2427095" y="742478"/>
            <a:ext cx="107455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ЧТО ТАКОЕ ПОДГОТОВКА ДОКУМЕНТОВ?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F5DBB0C-C6F3-000A-54FD-4817DA9D92A6}"/>
              </a:ext>
            </a:extLst>
          </p:cNvPr>
          <p:cNvSpPr/>
          <p:nvPr/>
        </p:nvSpPr>
        <p:spPr>
          <a:xfrm>
            <a:off x="1365956" y="2652889"/>
            <a:ext cx="12835466" cy="1388533"/>
          </a:xfrm>
          <a:prstGeom prst="rect">
            <a:avLst/>
          </a:prstGeom>
          <a:solidFill>
            <a:srgbClr val="CDCDEB"/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None/>
            </a:pPr>
            <a:endParaRPr lang="ru-RU" sz="2800" b="1" i="0" dirty="0">
              <a:solidFill>
                <a:srgbClr val="333333"/>
              </a:solidFill>
              <a:effectLst/>
              <a:latin typeface="YS Text"/>
            </a:endParaRPr>
          </a:p>
          <a:p>
            <a:pPr algn="ctr">
              <a:spcAft>
                <a:spcPts val="600"/>
              </a:spcAft>
              <a:buNone/>
            </a:pPr>
            <a:r>
              <a:rPr lang="ru-RU" sz="2800" b="1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роцесс создания, оформления и обработки различных текстовых и графических материалов, которые могут быть использованы в деятельности</a:t>
            </a:r>
          </a:p>
          <a:p>
            <a:pPr algn="just">
              <a:spcAft>
                <a:spcPts val="600"/>
              </a:spcAft>
              <a:buNone/>
            </a:pPr>
            <a:endParaRPr lang="ru-RU" sz="3200" b="1" i="0" dirty="0">
              <a:solidFill>
                <a:srgbClr val="333333"/>
              </a:solidFill>
              <a:effectLst/>
              <a:latin typeface="YS Text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AA54D67-03E9-1260-0566-5C8CDD73AB82}"/>
              </a:ext>
            </a:extLst>
          </p:cNvPr>
          <p:cNvSpPr/>
          <p:nvPr/>
        </p:nvSpPr>
        <p:spPr>
          <a:xfrm>
            <a:off x="1365956" y="4537468"/>
            <a:ext cx="12835466" cy="5695743"/>
          </a:xfrm>
          <a:prstGeom prst="rect">
            <a:avLst/>
          </a:prstGeom>
          <a:solidFill>
            <a:srgbClr val="CDCDEB"/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b="1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бор информации</a:t>
            </a:r>
            <a:r>
              <a:rPr lang="ru-RU" sz="28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Определение целей документа и сбор всей необходимой информации.</a:t>
            </a:r>
          </a:p>
          <a:p>
            <a:pPr lvl="1">
              <a:spcAft>
                <a:spcPts val="600"/>
              </a:spcAft>
              <a:buFont typeface="+mj-lt"/>
              <a:buAutoNum type="arabicPeriod"/>
            </a:pPr>
            <a:r>
              <a:rPr lang="ru-RU" sz="2800" b="1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Планирование и структурирование</a:t>
            </a:r>
            <a:r>
              <a:rPr lang="ru-RU" sz="28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Определение порядка и структуры документа.</a:t>
            </a:r>
          </a:p>
          <a:p>
            <a:pPr lvl="1">
              <a:spcAft>
                <a:spcPts val="600"/>
              </a:spcAft>
              <a:buFont typeface="+mj-lt"/>
              <a:buAutoNum type="arabicPeriod"/>
            </a:pPr>
            <a:r>
              <a:rPr lang="ru-RU" sz="2800" b="1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Написание и редактирование</a:t>
            </a:r>
            <a:r>
              <a:rPr lang="ru-RU" sz="28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Создание текста документа и его редактирование для точности и ясности.</a:t>
            </a:r>
          </a:p>
          <a:p>
            <a:pPr lvl="1">
              <a:spcAft>
                <a:spcPts val="600"/>
              </a:spcAft>
              <a:buFont typeface="+mj-lt"/>
              <a:buAutoNum type="arabicPeriod"/>
            </a:pPr>
            <a:r>
              <a:rPr lang="ru-RU" sz="2800" b="1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Верстка и форматирование</a:t>
            </a:r>
            <a:r>
              <a:rPr lang="ru-RU" sz="28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Оформление документа в соответствии с требованиями.</a:t>
            </a:r>
          </a:p>
          <a:p>
            <a:pPr lvl="1">
              <a:spcAft>
                <a:spcPts val="600"/>
              </a:spcAft>
              <a:buFont typeface="+mj-lt"/>
              <a:buAutoNum type="arabicPeriod"/>
            </a:pPr>
            <a:r>
              <a:rPr lang="ru-RU" sz="2800" b="1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Проверка и коррекция</a:t>
            </a:r>
            <a:r>
              <a:rPr lang="ru-RU" sz="28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Проверка на ошибки и опечатки. </a:t>
            </a:r>
          </a:p>
          <a:p>
            <a:pPr lvl="1">
              <a:spcAft>
                <a:spcPts val="600"/>
              </a:spcAft>
              <a:buFont typeface="+mj-lt"/>
              <a:buAutoNum type="arabicPeriod"/>
            </a:pPr>
            <a:r>
              <a:rPr lang="ru-RU" sz="2800" b="1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Утверждение и подписание</a:t>
            </a:r>
            <a:r>
              <a:rPr lang="ru-RU" sz="28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Если необходимо, утверждение документа и подписание сторонами.</a:t>
            </a:r>
          </a:p>
        </p:txBody>
      </p:sp>
    </p:spTree>
    <p:extLst>
      <p:ext uri="{BB962C8B-B14F-4D97-AF65-F5344CB8AC3E}">
        <p14:creationId xmlns:p14="http://schemas.microsoft.com/office/powerpoint/2010/main" val="18252453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0AEAF3-AACC-DD19-1347-D759F65BA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68CAE02-605B-C0DB-1276-2E64D97F8DBA}"/>
              </a:ext>
            </a:extLst>
          </p:cNvPr>
          <p:cNvSpPr txBox="1"/>
          <p:nvPr/>
        </p:nvSpPr>
        <p:spPr>
          <a:xfrm>
            <a:off x="2427095" y="742478"/>
            <a:ext cx="107455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ЧАСТО ЗАДАВАЕМЫЕ ВОПРОСЫ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2E2F4D-2634-78FD-534A-5661BDA09A82}"/>
              </a:ext>
            </a:extLst>
          </p:cNvPr>
          <p:cNvSpPr txBox="1"/>
          <p:nvPr/>
        </p:nvSpPr>
        <p:spPr>
          <a:xfrm>
            <a:off x="813950" y="2275776"/>
            <a:ext cx="9583118" cy="7954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ru-RU" sz="2000" dirty="0"/>
              <a:t>На какие категории педагогических работников распространяются данные приказы? – На воспитателей </a:t>
            </a:r>
          </a:p>
          <a:p>
            <a:pPr marL="514350" indent="-514350">
              <a:buAutoNum type="arabicPeriod"/>
            </a:pPr>
            <a:r>
              <a:rPr lang="ru-RU" sz="2000" dirty="0"/>
              <a:t>Должен ли воспитатель готовить документы, не касающиеся образовательной деятельности? – Нет </a:t>
            </a:r>
          </a:p>
          <a:p>
            <a:pPr marL="514350" indent="-514350">
              <a:buAutoNum type="arabicPeriod"/>
            </a:pPr>
            <a:r>
              <a:rPr lang="ru-RU" sz="2000" dirty="0"/>
              <a:t>Нужно ли воспитателю готовить все документы, указанные в ФОП ДО? – Нет </a:t>
            </a:r>
          </a:p>
          <a:p>
            <a:pPr marL="514350" indent="-514350">
              <a:buAutoNum type="arabicPeriod"/>
            </a:pPr>
            <a:r>
              <a:rPr lang="ru-RU" sz="2000" dirty="0"/>
              <a:t>Имеются ли типовые формы документов, указанных в приказах, утвержденные на федеральном уровне? – Нет </a:t>
            </a:r>
          </a:p>
          <a:p>
            <a:pPr marL="514350" indent="-514350">
              <a:buAutoNum type="arabicPeriod"/>
            </a:pPr>
            <a:r>
              <a:rPr lang="ru-RU" sz="2000" dirty="0"/>
              <a:t>Какой перечень документов должен готовить старший воспитатель? – перечень не установлен </a:t>
            </a:r>
          </a:p>
          <a:p>
            <a:pPr marL="514350" indent="-514350">
              <a:buAutoNum type="arabicPeriod"/>
            </a:pPr>
            <a:r>
              <a:rPr lang="ru-RU" sz="2000" dirty="0"/>
              <a:t>Что такое календарно-тематический план? – документ, определяющий последовательность изучения содержательных элементов образовательной программы. </a:t>
            </a:r>
          </a:p>
          <a:p>
            <a:pPr marL="514350" indent="-514350">
              <a:buAutoNum type="arabicPeriod"/>
            </a:pPr>
            <a:r>
              <a:rPr lang="ru-RU" sz="2000" dirty="0"/>
              <a:t>Должен ли педагог осуществлять педагогическую диагностику и заполнять отчетные формы? –Нет</a:t>
            </a:r>
          </a:p>
          <a:p>
            <a:pPr marL="514350" indent="-514350">
              <a:buAutoNum type="arabicPeriod"/>
            </a:pPr>
            <a:r>
              <a:rPr lang="ru-RU" sz="2000" dirty="0"/>
              <a:t>Что писать в отчете о самообследовании в разделе результаты обучения? – Образовательные результаты не измеряются. </a:t>
            </a:r>
          </a:p>
          <a:p>
            <a:pPr marL="514350" indent="-514350">
              <a:buAutoNum type="arabicPeriod"/>
            </a:pPr>
            <a:r>
              <a:rPr lang="ru-RU" sz="2000" dirty="0"/>
              <a:t>Должен ли воспитатель готовить подробные конспекты занятий? – Воспитатель сам принимает это решение. </a:t>
            </a:r>
          </a:p>
          <a:p>
            <a:pPr>
              <a:lnSpc>
                <a:spcPct val="150000"/>
              </a:lnSpc>
            </a:pPr>
            <a:endParaRPr lang="ru-RU" sz="2400" dirty="0"/>
          </a:p>
          <a:p>
            <a:pPr marL="514350" indent="-514350">
              <a:buAutoNum type="arabicPeriod"/>
            </a:pPr>
            <a:endParaRPr lang="ru-RU" sz="3200" dirty="0"/>
          </a:p>
          <a:p>
            <a:pPr marL="514350" indent="-514350">
              <a:buAutoNum type="arabicPeriod"/>
            </a:pPr>
            <a:endParaRPr lang="ru-RU" sz="3200" dirty="0"/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1EA661F-918B-ED70-D318-6544F37AC097}"/>
              </a:ext>
            </a:extLst>
          </p:cNvPr>
          <p:cNvSpPr/>
          <p:nvPr/>
        </p:nvSpPr>
        <p:spPr>
          <a:xfrm>
            <a:off x="1008530" y="9020817"/>
            <a:ext cx="13576714" cy="1089212"/>
          </a:xfrm>
          <a:prstGeom prst="rect">
            <a:avLst/>
          </a:prstGeom>
          <a:solidFill>
            <a:srgbClr val="CDCDEB"/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едагог </a:t>
            </a:r>
            <a:r>
              <a:rPr lang="ru-RU" sz="4000" b="1" dirty="0"/>
              <a:t>вправе</a:t>
            </a:r>
            <a:r>
              <a:rPr lang="ru-RU" dirty="0"/>
              <a:t> разрабатывать для своей деятельности все необходимые ему документы 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8113194E-ECEC-8067-F6E5-777F45203F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7068" y="2275776"/>
            <a:ext cx="4722282" cy="5410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11326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C24046-98DA-7384-D2DF-081D94502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1A9F134-2467-7BCC-BA1A-F1DE792D2D62}"/>
              </a:ext>
            </a:extLst>
          </p:cNvPr>
          <p:cNvSpPr txBox="1"/>
          <p:nvPr/>
        </p:nvSpPr>
        <p:spPr>
          <a:xfrm>
            <a:off x="2400698" y="506273"/>
            <a:ext cx="107455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ЧТО ТАКОЕ МЕТОДИЧЕСКАЯ РАБОТА?    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6480052-0A5B-4353-CDFE-3C763CA6090D}"/>
              </a:ext>
            </a:extLst>
          </p:cNvPr>
          <p:cNvSpPr/>
          <p:nvPr/>
        </p:nvSpPr>
        <p:spPr>
          <a:xfrm>
            <a:off x="372534" y="1692841"/>
            <a:ext cx="4628444" cy="68522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r>
              <a:rPr lang="ru-RU" b="1" dirty="0">
                <a:solidFill>
                  <a:schemeClr val="accent4">
                    <a:lumMod val="50000"/>
                  </a:schemeClr>
                </a:solidFill>
              </a:rPr>
              <a:t>МЕТОДИЧЕСКАЯ РАБОТА ПЕДАГОГА </a:t>
            </a:r>
          </a:p>
          <a:p>
            <a:pPr algn="ctr"/>
            <a:endParaRPr lang="ru-RU" dirty="0">
              <a:solidFill>
                <a:srgbClr val="575086"/>
              </a:solidFill>
            </a:endParaRPr>
          </a:p>
          <a:p>
            <a:pPr algn="ctr"/>
            <a:r>
              <a:rPr lang="ru-RU" sz="2000" b="1" dirty="0">
                <a:solidFill>
                  <a:srgbClr val="575086"/>
                </a:solidFill>
              </a:rPr>
              <a:t>Деятельность, связанная с подготовкой к реализации ОП и анализом ее результативности </a:t>
            </a:r>
          </a:p>
          <a:p>
            <a:pPr algn="ctr"/>
            <a:endParaRPr lang="ru-RU" sz="2000" b="1" dirty="0">
              <a:solidFill>
                <a:srgbClr val="575086"/>
              </a:solidFill>
            </a:endParaRPr>
          </a:p>
          <a:p>
            <a:pPr marL="514350" indent="-514350" algn="just">
              <a:buAutoNum type="arabicPeriod"/>
            </a:pPr>
            <a:r>
              <a:rPr lang="ru-RU" sz="2000" b="1" dirty="0">
                <a:solidFill>
                  <a:srgbClr val="575086"/>
                </a:solidFill>
              </a:rPr>
              <a:t>Разработка КТП </a:t>
            </a:r>
            <a:r>
              <a:rPr lang="ru-RU" sz="2000" dirty="0">
                <a:solidFill>
                  <a:srgbClr val="575086"/>
                </a:solidFill>
              </a:rPr>
              <a:t>(обязательный документ)</a:t>
            </a:r>
          </a:p>
          <a:p>
            <a:pPr marL="514350" indent="-514350" algn="just">
              <a:buAutoNum type="arabicPeriod"/>
            </a:pPr>
            <a:r>
              <a:rPr lang="ru-RU" sz="2000" b="1" dirty="0">
                <a:solidFill>
                  <a:srgbClr val="575086"/>
                </a:solidFill>
              </a:rPr>
              <a:t>Разработка ОП </a:t>
            </a:r>
            <a:r>
              <a:rPr lang="ru-RU" sz="2000" dirty="0">
                <a:solidFill>
                  <a:srgbClr val="575086"/>
                </a:solidFill>
              </a:rPr>
              <a:t>(может участвовать)</a:t>
            </a:r>
          </a:p>
          <a:p>
            <a:pPr marL="514350" indent="-514350" algn="just">
              <a:buAutoNum type="arabicPeriod"/>
            </a:pPr>
            <a:r>
              <a:rPr lang="ru-RU" sz="2000" b="1" dirty="0">
                <a:solidFill>
                  <a:srgbClr val="575086"/>
                </a:solidFill>
              </a:rPr>
              <a:t>Разработка дидактических материалов </a:t>
            </a:r>
            <a:r>
              <a:rPr lang="ru-RU" sz="2000" dirty="0">
                <a:solidFill>
                  <a:srgbClr val="575086"/>
                </a:solidFill>
              </a:rPr>
              <a:t>для занятий, конспектов, сценариев, подбор форм, методов и средств, и </a:t>
            </a:r>
            <a:r>
              <a:rPr lang="ru-RU" sz="2000" dirty="0" err="1">
                <a:solidFill>
                  <a:srgbClr val="575086"/>
                </a:solidFill>
              </a:rPr>
              <a:t>тд</a:t>
            </a:r>
            <a:r>
              <a:rPr lang="ru-RU" sz="2000" dirty="0">
                <a:solidFill>
                  <a:srgbClr val="575086"/>
                </a:solidFill>
              </a:rPr>
              <a:t>. (делает по своему усмотрению по мере необходимости)</a:t>
            </a:r>
          </a:p>
          <a:p>
            <a:pPr marL="514350" indent="-514350" algn="just">
              <a:buAutoNum type="arabicPeriod"/>
            </a:pPr>
            <a:r>
              <a:rPr lang="ru-RU" sz="2000" b="1" dirty="0">
                <a:solidFill>
                  <a:srgbClr val="575086"/>
                </a:solidFill>
              </a:rPr>
              <a:t>Проведение педагогической диагностики </a:t>
            </a:r>
            <a:r>
              <a:rPr lang="ru-RU" sz="2000" dirty="0">
                <a:solidFill>
                  <a:srgbClr val="575086"/>
                </a:solidFill>
              </a:rPr>
              <a:t>и анализ ее результатов (делает по своему усмотрению по мере необходимости)</a:t>
            </a:r>
          </a:p>
          <a:p>
            <a:pPr algn="just"/>
            <a:endParaRPr lang="ru-RU" sz="2000" dirty="0">
              <a:solidFill>
                <a:srgbClr val="575086"/>
              </a:solidFill>
            </a:endParaRPr>
          </a:p>
          <a:p>
            <a:pPr marL="514350" indent="-514350" algn="just">
              <a:buAutoNum type="arabicPeriod"/>
            </a:pPr>
            <a:endParaRPr lang="ru-RU" dirty="0">
              <a:solidFill>
                <a:srgbClr val="575086"/>
              </a:solidFill>
            </a:endParaRPr>
          </a:p>
          <a:p>
            <a:pPr marL="514350" indent="-514350" algn="just">
              <a:buAutoNum type="arabicPeriod"/>
            </a:pPr>
            <a:endParaRPr lang="ru-RU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00673E0-862A-6DED-D2FC-6BABBB978651}"/>
              </a:ext>
            </a:extLst>
          </p:cNvPr>
          <p:cNvSpPr/>
          <p:nvPr/>
        </p:nvSpPr>
        <p:spPr>
          <a:xfrm>
            <a:off x="5245453" y="1692839"/>
            <a:ext cx="4628444" cy="68522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r>
              <a:rPr lang="ru-RU" b="1" dirty="0">
                <a:solidFill>
                  <a:schemeClr val="accent4">
                    <a:lumMod val="50000"/>
                  </a:schemeClr>
                </a:solidFill>
              </a:rPr>
              <a:t>ПОВЫШЕНИЕ КВАЛИФИКАЦИИ</a:t>
            </a:r>
          </a:p>
          <a:p>
            <a:pPr algn="ctr"/>
            <a:endParaRPr lang="ru-RU" dirty="0">
              <a:solidFill>
                <a:srgbClr val="575086"/>
              </a:solidFill>
            </a:endParaRPr>
          </a:p>
          <a:p>
            <a:pPr algn="ctr"/>
            <a:r>
              <a:rPr lang="ru-RU" sz="2000" b="1" dirty="0">
                <a:solidFill>
                  <a:srgbClr val="575086"/>
                </a:solidFill>
              </a:rPr>
              <a:t>Деятельность, связанная с повышением уровня профессионального мастерства</a:t>
            </a:r>
          </a:p>
          <a:p>
            <a:pPr algn="just"/>
            <a:r>
              <a:rPr lang="ru-RU" sz="2000" b="1" dirty="0">
                <a:solidFill>
                  <a:srgbClr val="575086"/>
                </a:solidFill>
              </a:rPr>
              <a:t> </a:t>
            </a:r>
          </a:p>
          <a:p>
            <a:pPr marL="514350" indent="-514350" algn="just">
              <a:buAutoNum type="arabicPeriod"/>
            </a:pPr>
            <a:r>
              <a:rPr lang="ru-RU" sz="2000" b="1" dirty="0">
                <a:solidFill>
                  <a:srgbClr val="575086"/>
                </a:solidFill>
              </a:rPr>
              <a:t>Обучение по программам ПК </a:t>
            </a:r>
            <a:r>
              <a:rPr lang="ru-RU" sz="2000" dirty="0">
                <a:solidFill>
                  <a:srgbClr val="575086"/>
                </a:solidFill>
              </a:rPr>
              <a:t>(ст.47 п.5 273 ФЗ право на ДПО по профилю деятельности не реже 1 раза в 3 года)</a:t>
            </a:r>
          </a:p>
          <a:p>
            <a:pPr marL="514350" indent="-514350" algn="just">
              <a:buAutoNum type="arabicPeriod"/>
            </a:pPr>
            <a:r>
              <a:rPr lang="ru-RU" sz="2000" b="1" dirty="0">
                <a:solidFill>
                  <a:srgbClr val="575086"/>
                </a:solidFill>
              </a:rPr>
              <a:t>Участие в проектах, конкурсах</a:t>
            </a:r>
            <a:r>
              <a:rPr lang="ru-RU" sz="2000" dirty="0">
                <a:solidFill>
                  <a:srgbClr val="575086"/>
                </a:solidFill>
              </a:rPr>
              <a:t>,  форумах и др. НЕ является обязательным, по решению педагога. </a:t>
            </a:r>
          </a:p>
          <a:p>
            <a:pPr marL="514350" indent="-514350" algn="just">
              <a:buAutoNum type="arabicPeriod"/>
            </a:pPr>
            <a:r>
              <a:rPr lang="ru-RU" sz="2000" b="1" dirty="0">
                <a:solidFill>
                  <a:srgbClr val="575086"/>
                </a:solidFill>
              </a:rPr>
              <a:t>Планы по саморазвитию</a:t>
            </a:r>
            <a:r>
              <a:rPr lang="ru-RU" sz="2000" dirty="0">
                <a:solidFill>
                  <a:srgbClr val="575086"/>
                </a:solidFill>
              </a:rPr>
              <a:t>, отчеты по самообразованию  не являются обязательным документом. </a:t>
            </a:r>
          </a:p>
          <a:p>
            <a:pPr marL="514350" indent="-514350" algn="just">
              <a:buAutoNum type="arabicPeriod"/>
            </a:pPr>
            <a:r>
              <a:rPr lang="ru-RU" sz="2000" b="1" dirty="0">
                <a:solidFill>
                  <a:srgbClr val="575086"/>
                </a:solidFill>
              </a:rPr>
              <a:t>Подготовка к аттестации </a:t>
            </a:r>
            <a:r>
              <a:rPr lang="ru-RU" sz="2000" dirty="0">
                <a:solidFill>
                  <a:srgbClr val="575086"/>
                </a:solidFill>
              </a:rPr>
              <a:t>в соответствии с установленными требованиями. </a:t>
            </a:r>
          </a:p>
          <a:p>
            <a:pPr marL="514350" indent="-514350" algn="just">
              <a:buAutoNum type="arabicPeriod"/>
            </a:pPr>
            <a:endParaRPr lang="ru-RU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r>
              <a:rPr lang="ru-RU" b="1" dirty="0">
                <a:solidFill>
                  <a:srgbClr val="575086"/>
                </a:solidFill>
              </a:rPr>
              <a:t>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48E4BC4-0CA3-C851-4DC2-69E9FDD8022C}"/>
              </a:ext>
            </a:extLst>
          </p:cNvPr>
          <p:cNvSpPr/>
          <p:nvPr/>
        </p:nvSpPr>
        <p:spPr>
          <a:xfrm>
            <a:off x="10118372" y="1692839"/>
            <a:ext cx="4628444" cy="68522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r>
              <a:rPr lang="ru-RU" b="1" dirty="0">
                <a:solidFill>
                  <a:schemeClr val="accent4">
                    <a:lumMod val="50000"/>
                  </a:schemeClr>
                </a:solidFill>
              </a:rPr>
              <a:t>НАУЧНО-ИССЛЕДОВАТЕЛЬСКАЯ ДЕЯТЕЛЬНОСТЬ</a:t>
            </a: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r>
              <a:rPr lang="ru-RU" sz="2000" b="1" dirty="0">
                <a:solidFill>
                  <a:srgbClr val="575086"/>
                </a:solidFill>
              </a:rPr>
              <a:t>Деятельность, связанная с проведением научных исследований </a:t>
            </a: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marL="514350" indent="-514350" algn="just">
              <a:buAutoNum type="arabicPeriod"/>
            </a:pPr>
            <a:r>
              <a:rPr lang="ru-RU" sz="2000" dirty="0">
                <a:solidFill>
                  <a:srgbClr val="575086"/>
                </a:solidFill>
              </a:rPr>
              <a:t>Собственные исследования (магистратура, аспирантура и др.)</a:t>
            </a:r>
          </a:p>
          <a:p>
            <a:pPr marL="514350" indent="-514350" algn="just">
              <a:buAutoNum type="arabicPeriod"/>
            </a:pPr>
            <a:r>
              <a:rPr lang="ru-RU" sz="2000" dirty="0">
                <a:solidFill>
                  <a:srgbClr val="575086"/>
                </a:solidFill>
              </a:rPr>
              <a:t>Участие в исследованиях ОО в рамках «методической темы ОО»</a:t>
            </a:r>
          </a:p>
          <a:p>
            <a:pPr marL="514350" indent="-514350" algn="just">
              <a:buAutoNum type="arabicPeriod"/>
            </a:pPr>
            <a:r>
              <a:rPr lang="ru-RU" sz="2000" dirty="0">
                <a:solidFill>
                  <a:srgbClr val="575086"/>
                </a:solidFill>
              </a:rPr>
              <a:t>Разработка и публикация научных статей, учебных изданий, монографий и др. </a:t>
            </a:r>
          </a:p>
          <a:p>
            <a:pPr marL="514350" indent="-514350" algn="just">
              <a:buAutoNum type="arabicPeriod"/>
            </a:pPr>
            <a:r>
              <a:rPr lang="ru-RU" sz="2000" dirty="0">
                <a:solidFill>
                  <a:srgbClr val="575086"/>
                </a:solidFill>
              </a:rPr>
              <a:t>Участие в конференциях, симпозиумах, семинарах и др. </a:t>
            </a:r>
          </a:p>
          <a:p>
            <a:pPr marL="514350" indent="-514350" algn="just">
              <a:buAutoNum type="arabicPeriod"/>
            </a:pPr>
            <a:endParaRPr lang="ru-RU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endParaRPr lang="ru-RU" b="1" dirty="0">
              <a:solidFill>
                <a:srgbClr val="575086"/>
              </a:solidFill>
            </a:endParaRPr>
          </a:p>
          <a:p>
            <a:pPr algn="ctr"/>
            <a:r>
              <a:rPr lang="ru-RU" b="1" dirty="0">
                <a:solidFill>
                  <a:srgbClr val="575086"/>
                </a:solidFill>
              </a:rPr>
              <a:t>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E04A388-4A73-91E3-B347-7C806FC7853D}"/>
              </a:ext>
            </a:extLst>
          </p:cNvPr>
          <p:cNvSpPr/>
          <p:nvPr/>
        </p:nvSpPr>
        <p:spPr>
          <a:xfrm>
            <a:off x="372534" y="1229997"/>
            <a:ext cx="45719" cy="4571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3FA42E9-B432-A584-2CCA-D45D419F97AD}"/>
              </a:ext>
            </a:extLst>
          </p:cNvPr>
          <p:cNvSpPr/>
          <p:nvPr/>
        </p:nvSpPr>
        <p:spPr>
          <a:xfrm>
            <a:off x="418253" y="8760178"/>
            <a:ext cx="14328563" cy="142536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>
                <a:solidFill>
                  <a:srgbClr val="7030A0"/>
                </a:solidFill>
              </a:rPr>
              <a:t>Главный результат – удовлетворенность всех участников образовательных отношений </a:t>
            </a:r>
          </a:p>
        </p:txBody>
      </p:sp>
    </p:spTree>
    <p:extLst>
      <p:ext uri="{BB962C8B-B14F-4D97-AF65-F5344CB8AC3E}">
        <p14:creationId xmlns:p14="http://schemas.microsoft.com/office/powerpoint/2010/main" val="6108755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118895E-DF8B-D174-9481-E0735D3F1C68}"/>
              </a:ext>
            </a:extLst>
          </p:cNvPr>
          <p:cNvSpPr txBox="1"/>
          <p:nvPr/>
        </p:nvSpPr>
        <p:spPr>
          <a:xfrm>
            <a:off x="2400698" y="506273"/>
            <a:ext cx="1130401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МЕХАНИЗМЫ СНИЖЕНИЯ ОБЪЕМА МЕТОДИЧЕСКОЙ  РАБОТЫ   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2715F4-1A10-2545-38AD-CD34E29489DD}"/>
              </a:ext>
            </a:extLst>
          </p:cNvPr>
          <p:cNvSpPr txBox="1"/>
          <p:nvPr/>
        </p:nvSpPr>
        <p:spPr>
          <a:xfrm>
            <a:off x="2517422" y="3262489"/>
            <a:ext cx="533319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rgbClr val="423D67"/>
                </a:solidFill>
              </a:rPr>
              <a:t>ФОП ДО без необходимости </a:t>
            </a:r>
          </a:p>
          <a:p>
            <a:r>
              <a:rPr lang="ru-RU" sz="3200" dirty="0">
                <a:solidFill>
                  <a:srgbClr val="423D67"/>
                </a:solidFill>
              </a:rPr>
              <a:t>доработки на уровне ДОО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7E5330-2901-9644-A3EA-9A81ABDDA3C7}"/>
              </a:ext>
            </a:extLst>
          </p:cNvPr>
          <p:cNvSpPr txBox="1"/>
          <p:nvPr/>
        </p:nvSpPr>
        <p:spPr>
          <a:xfrm>
            <a:off x="2552239" y="4854222"/>
            <a:ext cx="34936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rgbClr val="423D67"/>
                </a:solidFill>
              </a:rPr>
              <a:t>Федеральный КТП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8719C3-8D01-8C22-1D23-F89E810D64EB}"/>
              </a:ext>
            </a:extLst>
          </p:cNvPr>
          <p:cNvSpPr txBox="1"/>
          <p:nvPr/>
        </p:nvSpPr>
        <p:spPr>
          <a:xfrm>
            <a:off x="2517422" y="6230024"/>
            <a:ext cx="532107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rgbClr val="423D67"/>
                </a:solidFill>
              </a:rPr>
              <a:t>Федеральные парциальные </a:t>
            </a:r>
          </a:p>
          <a:p>
            <a:r>
              <a:rPr lang="ru-RU" sz="3200" dirty="0">
                <a:solidFill>
                  <a:srgbClr val="423D67"/>
                </a:solidFill>
              </a:rPr>
              <a:t>программы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0458F3-7ADC-8C14-07BF-B40C2427E9D7}"/>
              </a:ext>
            </a:extLst>
          </p:cNvPr>
          <p:cNvSpPr txBox="1"/>
          <p:nvPr/>
        </p:nvSpPr>
        <p:spPr>
          <a:xfrm>
            <a:off x="2606421" y="7781679"/>
            <a:ext cx="542828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rgbClr val="423D67"/>
                </a:solidFill>
              </a:rPr>
              <a:t>Федеральные методические </a:t>
            </a:r>
          </a:p>
          <a:p>
            <a:r>
              <a:rPr lang="ru-RU" sz="3200" dirty="0">
                <a:solidFill>
                  <a:srgbClr val="423D67"/>
                </a:solidFill>
              </a:rPr>
              <a:t>пособия</a:t>
            </a:r>
            <a:r>
              <a:rPr lang="ru-RU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08B08C-AB96-42E8-C273-D9680B5B4181}"/>
              </a:ext>
            </a:extLst>
          </p:cNvPr>
          <p:cNvSpPr txBox="1"/>
          <p:nvPr/>
        </p:nvSpPr>
        <p:spPr>
          <a:xfrm>
            <a:off x="2606421" y="9254003"/>
            <a:ext cx="349845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rgbClr val="423D67"/>
                </a:solidFill>
              </a:rPr>
              <a:t>Федеральные ЭОР</a:t>
            </a:r>
          </a:p>
        </p:txBody>
      </p:sp>
      <p:sp>
        <p:nvSpPr>
          <p:cNvPr id="12" name="Правая фигурная скобка 11">
            <a:extLst>
              <a:ext uri="{FF2B5EF4-FFF2-40B4-BE49-F238E27FC236}">
                <a16:creationId xmlns:a16="http://schemas.microsoft.com/office/drawing/2014/main" id="{6669DF33-1322-1E44-C484-701976F15330}"/>
              </a:ext>
            </a:extLst>
          </p:cNvPr>
          <p:cNvSpPr/>
          <p:nvPr/>
        </p:nvSpPr>
        <p:spPr>
          <a:xfrm>
            <a:off x="8534400" y="3341510"/>
            <a:ext cx="595715" cy="6558845"/>
          </a:xfrm>
          <a:prstGeom prst="rightBrace">
            <a:avLst/>
          </a:prstGeom>
          <a:ln w="76200">
            <a:solidFill>
              <a:srgbClr val="5750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23D67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4501DD-FF59-9AA8-A815-27D6F5E71B36}"/>
              </a:ext>
            </a:extLst>
          </p:cNvPr>
          <p:cNvSpPr txBox="1"/>
          <p:nvPr/>
        </p:nvSpPr>
        <p:spPr>
          <a:xfrm>
            <a:off x="9598651" y="4456442"/>
            <a:ext cx="4464812" cy="357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0" dirty="0">
                <a:solidFill>
                  <a:srgbClr val="423D67"/>
                </a:solidFill>
              </a:rPr>
              <a:t>Федеральный </a:t>
            </a:r>
          </a:p>
          <a:p>
            <a:r>
              <a:rPr lang="ru-RU" sz="5400" dirty="0">
                <a:solidFill>
                  <a:srgbClr val="423D67"/>
                </a:solidFill>
              </a:rPr>
              <a:t>УМК</a:t>
            </a:r>
          </a:p>
          <a:p>
            <a:r>
              <a:rPr lang="ru-RU" sz="5400" dirty="0">
                <a:solidFill>
                  <a:srgbClr val="423D67"/>
                </a:solidFill>
              </a:rPr>
              <a:t> </a:t>
            </a:r>
          </a:p>
          <a:p>
            <a:r>
              <a:rPr lang="ru-RU" sz="3200" dirty="0">
                <a:solidFill>
                  <a:srgbClr val="423D67"/>
                </a:solidFill>
              </a:rPr>
              <a:t>по принципу </a:t>
            </a:r>
          </a:p>
          <a:p>
            <a:r>
              <a:rPr lang="ru-RU" sz="3200" dirty="0">
                <a:solidFill>
                  <a:srgbClr val="423D67"/>
                </a:solidFill>
              </a:rPr>
              <a:t>«Бери и делай»</a:t>
            </a:r>
          </a:p>
        </p:txBody>
      </p:sp>
      <p:pic>
        <p:nvPicPr>
          <p:cNvPr id="15" name="Рисунок 14" descr="Книги">
            <a:extLst>
              <a:ext uri="{FF2B5EF4-FFF2-40B4-BE49-F238E27FC236}">
                <a16:creationId xmlns:a16="http://schemas.microsoft.com/office/drawing/2014/main" id="{D952EA91-4878-DB9A-1E32-37EE841183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8125" y="7644588"/>
            <a:ext cx="1227600" cy="1227600"/>
          </a:xfrm>
          <a:prstGeom prst="rect">
            <a:avLst/>
          </a:prstGeom>
        </p:spPr>
      </p:pic>
      <p:pic>
        <p:nvPicPr>
          <p:cNvPr id="17" name="Рисунок 16" descr="Закрытая книга">
            <a:extLst>
              <a:ext uri="{FF2B5EF4-FFF2-40B4-BE49-F238E27FC236}">
                <a16:creationId xmlns:a16="http://schemas.microsoft.com/office/drawing/2014/main" id="{7568D87B-1003-E99A-D176-006ABC3942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5151" y="5993538"/>
            <a:ext cx="1318659" cy="1318659"/>
          </a:xfrm>
          <a:prstGeom prst="rect">
            <a:avLst/>
          </a:prstGeom>
        </p:spPr>
      </p:pic>
      <p:pic>
        <p:nvPicPr>
          <p:cNvPr id="19" name="Рисунок 18" descr="Открытая книга">
            <a:extLst>
              <a:ext uri="{FF2B5EF4-FFF2-40B4-BE49-F238E27FC236}">
                <a16:creationId xmlns:a16="http://schemas.microsoft.com/office/drawing/2014/main" id="{AE2FF027-2505-5FDB-4BA0-A462B211F1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7905" y="4456442"/>
            <a:ext cx="1309686" cy="1309686"/>
          </a:xfrm>
          <a:prstGeom prst="rect">
            <a:avLst/>
          </a:prstGeom>
        </p:spPr>
      </p:pic>
      <p:pic>
        <p:nvPicPr>
          <p:cNvPr id="21" name="Рисунок 20" descr="Облачные вычисления">
            <a:extLst>
              <a:ext uri="{FF2B5EF4-FFF2-40B4-BE49-F238E27FC236}">
                <a16:creationId xmlns:a16="http://schemas.microsoft.com/office/drawing/2014/main" id="{D747A8F5-748B-448B-D5C6-A328FB4540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9561" y="9045813"/>
            <a:ext cx="1198030" cy="1198030"/>
          </a:xfrm>
          <a:prstGeom prst="rect">
            <a:avLst/>
          </a:prstGeom>
        </p:spPr>
      </p:pic>
      <p:pic>
        <p:nvPicPr>
          <p:cNvPr id="23" name="Рисунок 22" descr="Аудитория">
            <a:extLst>
              <a:ext uri="{FF2B5EF4-FFF2-40B4-BE49-F238E27FC236}">
                <a16:creationId xmlns:a16="http://schemas.microsoft.com/office/drawing/2014/main" id="{CA356093-DC56-44E4-731A-AFF81C5CB7D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7905" y="3194522"/>
            <a:ext cx="1213152" cy="1213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07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73F67D6-C4B9-F85A-1074-11BD724BC426}"/>
              </a:ext>
            </a:extLst>
          </p:cNvPr>
          <p:cNvSpPr txBox="1"/>
          <p:nvPr/>
        </p:nvSpPr>
        <p:spPr>
          <a:xfrm>
            <a:off x="2400698" y="506273"/>
            <a:ext cx="1130401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ЧЕМ ЕЩЕ ЗАГРУЖЕНЫ ВОСПИТАТЕЛИ ?     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69BAA187-A3F0-91AB-4990-EA5CC40CED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8483190"/>
              </p:ext>
            </p:extLst>
          </p:nvPr>
        </p:nvGraphicFramePr>
        <p:xfrm>
          <a:off x="395111" y="1805428"/>
          <a:ext cx="9877779" cy="855066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716188">
                  <a:extLst>
                    <a:ext uri="{9D8B030D-6E8A-4147-A177-3AD203B41FA5}">
                      <a16:colId xmlns:a16="http://schemas.microsoft.com/office/drawing/2014/main" val="1419664662"/>
                    </a:ext>
                  </a:extLst>
                </a:gridCol>
                <a:gridCol w="5161591">
                  <a:extLst>
                    <a:ext uri="{9D8B030D-6E8A-4147-A177-3AD203B41FA5}">
                      <a16:colId xmlns:a16="http://schemas.microsoft.com/office/drawing/2014/main" val="3688115896"/>
                    </a:ext>
                  </a:extLst>
                </a:gridCol>
              </a:tblGrid>
              <a:tr h="1161552">
                <a:tc>
                  <a:txBody>
                    <a:bodyPr/>
                    <a:lstStyle/>
                    <a:p>
                      <a:r>
                        <a:rPr lang="ru-RU" sz="3200" b="0" dirty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Вид деятельности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3200" b="0" dirty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Кто на самом деле должен выполня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7922185"/>
                  </a:ext>
                </a:extLst>
              </a:tr>
              <a:tr h="670562">
                <a:tc>
                  <a:txBody>
                    <a:bodyPr/>
                    <a:lstStyle/>
                    <a:p>
                      <a:r>
                        <a:rPr lang="ru-RU" sz="2000" dirty="0"/>
                        <a:t>Ответы на разнообразные запросы и отче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АУП должен осуществлять «фильтрацию» запрос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3446580"/>
                  </a:ext>
                </a:extLst>
              </a:tr>
              <a:tr h="670562">
                <a:tc>
                  <a:txBody>
                    <a:bodyPr/>
                    <a:lstStyle/>
                    <a:p>
                      <a:r>
                        <a:rPr lang="ru-RU" sz="2000" dirty="0"/>
                        <a:t>Педагогическая диагност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Педагоги-психологи, педагоги - дефектолог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903919"/>
                  </a:ext>
                </a:extLst>
              </a:tr>
              <a:tr h="720816">
                <a:tc>
                  <a:txBody>
                    <a:bodyPr/>
                    <a:lstStyle/>
                    <a:p>
                      <a:r>
                        <a:rPr lang="ru-RU" sz="2000" dirty="0"/>
                        <a:t>Участие в различных региональных мероприятиях и подготовка отчетов по ним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Педагогические работники по желанию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5068833"/>
                  </a:ext>
                </a:extLst>
              </a:tr>
              <a:tr h="410426">
                <a:tc>
                  <a:txBody>
                    <a:bodyPr/>
                    <a:lstStyle/>
                    <a:p>
                      <a:r>
                        <a:rPr lang="ru-RU" sz="2000" dirty="0"/>
                        <a:t>Подомовые обход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Специалисты органов опек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086975"/>
                  </a:ext>
                </a:extLst>
              </a:tr>
              <a:tr h="557153">
                <a:tc>
                  <a:txBody>
                    <a:bodyPr/>
                    <a:lstStyle/>
                    <a:p>
                      <a:r>
                        <a:rPr lang="ru-RU" sz="2000" dirty="0"/>
                        <a:t>Ведение сайта и </a:t>
                      </a:r>
                      <a:r>
                        <a:rPr lang="ru-RU" sz="2000" dirty="0" err="1"/>
                        <a:t>госпаблик</a:t>
                      </a:r>
                      <a:r>
                        <a:rPr lang="ru-RU" sz="2000" dirty="0"/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Специалист по связям с общественностью, пресс-секретарь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824169"/>
                  </a:ext>
                </a:extLst>
              </a:tr>
              <a:tr h="557153">
                <a:tc>
                  <a:txBody>
                    <a:bodyPr/>
                    <a:lstStyle/>
                    <a:p>
                      <a:r>
                        <a:rPr lang="ru-RU" sz="2000" dirty="0"/>
                        <a:t>Медосмотры детей (утренний фильтр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Медработник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049488"/>
                  </a:ext>
                </a:extLst>
              </a:tr>
              <a:tr h="789299">
                <a:tc>
                  <a:txBody>
                    <a:bodyPr/>
                    <a:lstStyle/>
                    <a:p>
                      <a:r>
                        <a:rPr lang="ru-RU" sz="2000" dirty="0"/>
                        <a:t>Ведение документации по требованию Роспотребнадзор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Помощник воспитател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348916"/>
                  </a:ext>
                </a:extLst>
              </a:tr>
              <a:tr h="629954">
                <a:tc>
                  <a:txBody>
                    <a:bodyPr/>
                    <a:lstStyle/>
                    <a:p>
                      <a:r>
                        <a:rPr lang="ru-RU" sz="2000" dirty="0"/>
                        <a:t>Мытье игрушек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Младший воспитатель, помощник воспитател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838377"/>
                  </a:ext>
                </a:extLst>
              </a:tr>
              <a:tr h="542076">
                <a:tc>
                  <a:txBody>
                    <a:bodyPr/>
                    <a:lstStyle/>
                    <a:p>
                      <a:r>
                        <a:rPr lang="ru-RU" sz="2000" dirty="0"/>
                        <a:t>Ремонты помещени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Разнорабочие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161680"/>
                  </a:ext>
                </a:extLst>
              </a:tr>
              <a:tr h="1114442">
                <a:tc>
                  <a:txBody>
                    <a:bodyPr/>
                    <a:lstStyle/>
                    <a:p>
                      <a:r>
                        <a:rPr lang="ru-RU" sz="2000" dirty="0"/>
                        <a:t>Работы по требованию муниципалитетов (подготовка детских лагерей, озеленение и уборка территорий, патрулирование улиц и </a:t>
                      </a:r>
                      <a:r>
                        <a:rPr lang="ru-RU" sz="2000" dirty="0" err="1"/>
                        <a:t>тд</a:t>
                      </a:r>
                      <a:r>
                        <a:rPr lang="ru-RU" sz="2000" dirty="0"/>
                        <a:t>.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Работники разных ведомст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275442"/>
                  </a:ext>
                </a:extLst>
              </a:tr>
            </a:tbl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8F14BCB-8901-E7FF-4B07-6171227F28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57419" y="1805429"/>
            <a:ext cx="4432625" cy="85506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20445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2FE3018-F0BF-8492-E2CA-39A1F8F998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099" y="3515725"/>
            <a:ext cx="7371470" cy="4678220"/>
          </a:xfrm>
          <a:prstGeom prst="rect">
            <a:avLst/>
          </a:prstGeom>
          <a:noFill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1F8F39-DCE7-8A9F-040F-0A7FAEC8DC7B}"/>
              </a:ext>
            </a:extLst>
          </p:cNvPr>
          <p:cNvSpPr txBox="1"/>
          <p:nvPr/>
        </p:nvSpPr>
        <p:spPr>
          <a:xfrm>
            <a:off x="9209313" y="4685831"/>
            <a:ext cx="4844144" cy="17661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>
              <a:lnSpc>
                <a:spcPct val="107000"/>
              </a:lnSpc>
              <a:spcAft>
                <a:spcPts val="992"/>
              </a:spcAft>
              <a:buNone/>
            </a:pPr>
            <a:r>
              <a:rPr lang="ru-RU" sz="4800" b="1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3 региона</a:t>
            </a:r>
          </a:p>
          <a:p>
            <a:pPr indent="0">
              <a:lnSpc>
                <a:spcPct val="107000"/>
              </a:lnSpc>
              <a:spcAft>
                <a:spcPts val="992"/>
              </a:spcAft>
              <a:buNone/>
            </a:pPr>
            <a:r>
              <a:rPr lang="ru-RU" sz="4800" b="1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8 814 человек</a:t>
            </a:r>
            <a:endParaRPr lang="ru-RU" sz="4800" dirty="0">
              <a:solidFill>
                <a:srgbClr val="423D67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12">
            <a:extLst>
              <a:ext uri="{FF2B5EF4-FFF2-40B4-BE49-F238E27FC236}">
                <a16:creationId xmlns:a16="http://schemas.microsoft.com/office/drawing/2014/main" id="{CE2611DE-9DF9-59E5-27C7-990F656056C9}"/>
              </a:ext>
            </a:extLst>
          </p:cNvPr>
          <p:cNvSpPr/>
          <p:nvPr/>
        </p:nvSpPr>
        <p:spPr>
          <a:xfrm>
            <a:off x="2072459" y="870313"/>
            <a:ext cx="10252291" cy="8556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960" b="1" dirty="0">
                <a:solidFill>
                  <a:srgbClr val="423D67"/>
                </a:solidFill>
              </a:rPr>
              <a:t>ДОКУМЕНТАЦИЯ ВОСПИТАТЕЛЯ  </a:t>
            </a:r>
          </a:p>
        </p:txBody>
      </p:sp>
    </p:spTree>
    <p:extLst>
      <p:ext uri="{BB962C8B-B14F-4D97-AF65-F5344CB8AC3E}">
        <p14:creationId xmlns:p14="http://schemas.microsoft.com/office/powerpoint/2010/main" val="25901150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40D1C7-0DBA-A30B-CF66-4789F1398CF0}"/>
              </a:ext>
            </a:extLst>
          </p:cNvPr>
          <p:cNvSpPr txBox="1"/>
          <p:nvPr/>
        </p:nvSpPr>
        <p:spPr>
          <a:xfrm>
            <a:off x="2400698" y="506273"/>
            <a:ext cx="1130401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ПРОБЛЕМЫ И ПУТИ ИХ РЕШЕНИЯ       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4E15B64C-5296-0FC7-4887-8D8AE8C96B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9341090"/>
              </p:ext>
            </p:extLst>
          </p:nvPr>
        </p:nvGraphicFramePr>
        <p:xfrm>
          <a:off x="519289" y="1771563"/>
          <a:ext cx="14246578" cy="8619659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7123289">
                  <a:extLst>
                    <a:ext uri="{9D8B030D-6E8A-4147-A177-3AD203B41FA5}">
                      <a16:colId xmlns:a16="http://schemas.microsoft.com/office/drawing/2014/main" val="3250500260"/>
                    </a:ext>
                  </a:extLst>
                </a:gridCol>
                <a:gridCol w="7123289">
                  <a:extLst>
                    <a:ext uri="{9D8B030D-6E8A-4147-A177-3AD203B41FA5}">
                      <a16:colId xmlns:a16="http://schemas.microsoft.com/office/drawing/2014/main" val="3491397196"/>
                    </a:ext>
                  </a:extLst>
                </a:gridCol>
              </a:tblGrid>
              <a:tr h="1030139">
                <a:tc>
                  <a:txBody>
                    <a:bodyPr/>
                    <a:lstStyle/>
                    <a:p>
                      <a:pPr algn="ctr"/>
                      <a:r>
                        <a:rPr lang="ru-RU" sz="4000" dirty="0"/>
                        <a:t>Проблем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4000" dirty="0"/>
                        <a:t>Решен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5325944"/>
                  </a:ext>
                </a:extLst>
              </a:tr>
              <a:tr h="595582">
                <a:tc>
                  <a:txBody>
                    <a:bodyPr/>
                    <a:lstStyle/>
                    <a:p>
                      <a:r>
                        <a:rPr lang="ru-RU" sz="1800" dirty="0"/>
                        <a:t>ФГОС ДО сильно перегружены требованиями к отчетной документац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Скорректировать ФОП Д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526555"/>
                  </a:ext>
                </a:extLst>
              </a:tr>
              <a:tr h="345059">
                <a:tc>
                  <a:txBody>
                    <a:bodyPr/>
                    <a:lstStyle/>
                    <a:p>
                      <a:r>
                        <a:rPr lang="ru-RU" sz="1800" dirty="0"/>
                        <a:t>Нет федерального УМК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Разработать федеральный УМК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8143182"/>
                  </a:ext>
                </a:extLst>
              </a:tr>
              <a:tr h="595582">
                <a:tc>
                  <a:txBody>
                    <a:bodyPr/>
                    <a:lstStyle/>
                    <a:p>
                      <a:r>
                        <a:rPr lang="ru-RU" sz="1800" dirty="0"/>
                        <a:t>Не определен функционал воспитател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Утвердить Профстандарт Педагог дошкольного образования </a:t>
                      </a:r>
                    </a:p>
                    <a:p>
                      <a:r>
                        <a:rPr lang="ru-RU" sz="1800" dirty="0"/>
                        <a:t>Разработать типовые должностные инструкц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966737"/>
                  </a:ext>
                </a:extLst>
              </a:tr>
              <a:tr h="345059">
                <a:tc>
                  <a:txBody>
                    <a:bodyPr/>
                    <a:lstStyle/>
                    <a:p>
                      <a:r>
                        <a:rPr lang="ru-RU" sz="1800" dirty="0"/>
                        <a:t>Отсутствие в штатном расписании медработн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Ввести в штатное расписание ДОО медработн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4670579"/>
                  </a:ext>
                </a:extLst>
              </a:tr>
              <a:tr h="595582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Большое количество документации по требованиям Роспотребнадзора 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Уточнить перечень обязательной документац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2903229"/>
                  </a:ext>
                </a:extLst>
              </a:tr>
              <a:tr h="850831">
                <a:tc>
                  <a:txBody>
                    <a:bodyPr/>
                    <a:lstStyle/>
                    <a:p>
                      <a:r>
                        <a:rPr lang="ru-RU" sz="1800" dirty="0"/>
                        <a:t>Огромное количество различных мероприятий, в которых должен принимать участие воспитатель, писать по ним отчеты, регистрироваться в разных система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Определить ограниченный перечень обязательных федеральных и региональных  мероприятий в соответствии с содержанием и объемом ОП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609832"/>
                  </a:ext>
                </a:extLst>
              </a:tr>
              <a:tr h="345059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Обходы семей и отчетность по ним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Обеспечить контроль за соблюдением законодательст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718883"/>
                  </a:ext>
                </a:extLst>
              </a:tr>
              <a:tr h="1106080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Трудоемкая педагогическая  диагностика и отчетность по ней, необходимая для ПМПК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Исключить из  приложения 2 </a:t>
                      </a:r>
                      <a:r>
                        <a:rPr lang="ru-RU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каза Минпросвещения № 763 «Об утверждении положения о психолого-медико-педагогической комиссии» сведения о результатах обучения, предоставляемых психолого-педагогическим консилиумом ДОУ </a:t>
                      </a:r>
                      <a:endParaRPr lang="ru-RU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434536"/>
                  </a:ext>
                </a:extLst>
              </a:tr>
              <a:tr h="850831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Отчет о самообследовании требует много времени на подготовку, вместе с тем не доказал свою эффективность </a:t>
                      </a:r>
                    </a:p>
                    <a:p>
                      <a:endParaRPr lang="ru-RU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Отменить отчеты о самообследовании (изменения в 273-ФЗ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34786"/>
                  </a:ext>
                </a:extLst>
              </a:tr>
              <a:tr h="850831">
                <a:tc>
                  <a:txBody>
                    <a:bodyPr/>
                    <a:lstStyle/>
                    <a:p>
                      <a:r>
                        <a:rPr lang="ru-RU" sz="1800" dirty="0"/>
                        <a:t>Слишком забюрократизированная процедура аттестации педагогических работников во многих региона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Внедрить единую федеральную модель аттестации с упрощенным набором документации  </a:t>
                      </a:r>
                    </a:p>
                    <a:p>
                      <a:endParaRPr lang="ru-RU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03852"/>
                  </a:ext>
                </a:extLst>
              </a:tr>
              <a:tr h="595582">
                <a:tc>
                  <a:txBody>
                    <a:bodyPr/>
                    <a:lstStyle/>
                    <a:p>
                      <a:r>
                        <a:rPr lang="ru-RU" sz="1800" dirty="0"/>
                        <a:t>Большой объем работ в госпабликах, в связи с гонкой за рейтингами и количественными показателям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Ввести ставку специалиста по связям с общественностью</a:t>
                      </a:r>
                    </a:p>
                    <a:p>
                      <a:r>
                        <a:rPr lang="ru-RU" sz="1800" dirty="0"/>
                        <a:t>Отметить количественные показател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537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53320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55EB8FC-A60F-2992-D7CB-E02165D00F23}"/>
              </a:ext>
            </a:extLst>
          </p:cNvPr>
          <p:cNvSpPr txBox="1"/>
          <p:nvPr/>
        </p:nvSpPr>
        <p:spPr>
          <a:xfrm>
            <a:off x="1736271" y="837847"/>
            <a:ext cx="1047749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ЧЕК-ЛИСТ МЕРОПРИЯТИЙ В РЕГИОНЕ   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597E4480-42D1-5E64-A003-EC8B577CEB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7728135"/>
              </p:ext>
            </p:extLst>
          </p:nvPr>
        </p:nvGraphicFramePr>
        <p:xfrm>
          <a:off x="424543" y="2133600"/>
          <a:ext cx="13683343" cy="831505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6752">
                  <a:extLst>
                    <a:ext uri="{9D8B030D-6E8A-4147-A177-3AD203B41FA5}">
                      <a16:colId xmlns:a16="http://schemas.microsoft.com/office/drawing/2014/main" val="1753451466"/>
                    </a:ext>
                  </a:extLst>
                </a:gridCol>
                <a:gridCol w="11454747">
                  <a:extLst>
                    <a:ext uri="{9D8B030D-6E8A-4147-A177-3AD203B41FA5}">
                      <a16:colId xmlns:a16="http://schemas.microsoft.com/office/drawing/2014/main" val="1901480196"/>
                    </a:ext>
                  </a:extLst>
                </a:gridCol>
                <a:gridCol w="1431844">
                  <a:extLst>
                    <a:ext uri="{9D8B030D-6E8A-4147-A177-3AD203B41FA5}">
                      <a16:colId xmlns:a16="http://schemas.microsoft.com/office/drawing/2014/main" val="4105617575"/>
                    </a:ext>
                  </a:extLst>
                </a:gridCol>
              </a:tblGrid>
              <a:tr h="50472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2400" kern="100" dirty="0">
                          <a:effectLst/>
                        </a:rPr>
                        <a:t>№</a:t>
                      </a: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2800" kern="100" dirty="0">
                          <a:effectLst/>
                        </a:rPr>
                        <a:t>Мероприятие </a:t>
                      </a:r>
                      <a:endParaRPr lang="ru-RU" sz="2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28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метка</a:t>
                      </a: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9535796"/>
                  </a:ext>
                </a:extLst>
              </a:tr>
              <a:tr h="3692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Издание приказа о назначении ответственных за исполнение мероприятий по снижению бюрократической нагрузки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1898296"/>
                  </a:ext>
                </a:extLst>
              </a:tr>
              <a:tr h="2508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>
                          <a:effectLst/>
                        </a:rPr>
                        <a:t>2</a:t>
                      </a:r>
                      <a:endParaRPr lang="ru-RU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Создание и сопровождение «Горячей линии».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67046"/>
                  </a:ext>
                </a:extLst>
              </a:tr>
              <a:tr h="5568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>
                          <a:effectLst/>
                        </a:rPr>
                        <a:t>3</a:t>
                      </a:r>
                      <a:endParaRPr lang="ru-RU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Информирование работников образования о нормах законодательства, регулирующих объем документарной нагрузки на учителей. Доведение до каждого педагога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175546"/>
                  </a:ext>
                </a:extLst>
              </a:tr>
              <a:tr h="2508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>
                          <a:effectLst/>
                        </a:rPr>
                        <a:t>4</a:t>
                      </a:r>
                      <a:endParaRPr lang="ru-RU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Корректировка инструкции о делопроизводстве в РОИВ.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593489"/>
                  </a:ext>
                </a:extLst>
              </a:tr>
              <a:tr h="2508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5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 Формирование единого регионального плана мероприятий для ДОО.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1877941"/>
                  </a:ext>
                </a:extLst>
              </a:tr>
              <a:tr h="27546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>
                          <a:effectLst/>
                        </a:rPr>
                        <a:t>6</a:t>
                      </a:r>
                      <a:endParaRPr lang="ru-RU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Разработка типовой должностной инструкции воспитателя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924676"/>
                  </a:ext>
                </a:extLst>
              </a:tr>
              <a:tr h="2508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7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Корректировка правил внутреннего распорядка ОО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483306"/>
                  </a:ext>
                </a:extLst>
              </a:tr>
              <a:tr h="2508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8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рректировка положения об аттестации педагогических работников.</a:t>
                      </a: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136467"/>
                  </a:ext>
                </a:extLst>
              </a:tr>
              <a:tr h="4467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>
                          <a:effectLst/>
                        </a:rPr>
                        <a:t>9</a:t>
                      </a:r>
                      <a:endParaRPr lang="ru-RU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Проведение совещаний и педагогических советов по вопросу снижения бюрократической нагрузки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 </a:t>
                      </a:r>
                      <a:endParaRPr lang="ru-RU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380956"/>
                  </a:ext>
                </a:extLst>
              </a:tr>
              <a:tr h="27546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>
                          <a:effectLst/>
                        </a:rPr>
                        <a:t>10</a:t>
                      </a:r>
                      <a:endParaRPr lang="ru-RU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Проведение анализа и сокращение мониторингов и запросов.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376154"/>
                  </a:ext>
                </a:extLst>
              </a:tr>
              <a:tr h="2508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1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Проведение анализа и сокращения данных, собираемых в региональных ИС.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 </a:t>
                      </a:r>
                      <a:endParaRPr lang="ru-RU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8078923"/>
                  </a:ext>
                </a:extLst>
              </a:tr>
              <a:tr h="5568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2 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Доработка региональных информационных систем в сфере образования с учетом принимаемых мер по снижению бюрократической нагрузки на образовательные организации.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 </a:t>
                      </a:r>
                      <a:endParaRPr lang="ru-RU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771408"/>
                  </a:ext>
                </a:extLst>
              </a:tr>
              <a:tr h="3692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3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Освещение мероприятий по снижению бюрократической нагрузки в региональных СМИ и </a:t>
                      </a:r>
                      <a:r>
                        <a:rPr lang="ru-RU" sz="1800" kern="100" dirty="0" err="1">
                          <a:effectLst/>
                        </a:rPr>
                        <a:t>пабликах</a:t>
                      </a:r>
                      <a:r>
                        <a:rPr lang="ru-RU" sz="1800" kern="100" dirty="0">
                          <a:effectLst/>
                        </a:rPr>
                        <a:t>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 </a:t>
                      </a:r>
                      <a:endParaRPr lang="ru-RU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391892"/>
                  </a:ext>
                </a:extLst>
              </a:tr>
              <a:tr h="2508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4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Создание специального раздела на сайте РОИВ.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406201"/>
                  </a:ext>
                </a:extLst>
              </a:tr>
              <a:tr h="2508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5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Создание и организация работы межведомственной рабочей группы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 </a:t>
                      </a:r>
                      <a:endParaRPr lang="ru-RU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890410"/>
                  </a:ext>
                </a:extLst>
              </a:tr>
              <a:tr h="27546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6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Проведение аудита мониторингов и запросов на предмет соответствия закону в каждом ведомстве. 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 </a:t>
                      </a:r>
                      <a:endParaRPr lang="ru-RU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335628"/>
                  </a:ext>
                </a:extLst>
              </a:tr>
              <a:tr h="3692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7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Формирование единого межрегионального перечня документов и показателей, требуемых от ДОО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>
                          <a:effectLst/>
                        </a:rPr>
                        <a:t> </a:t>
                      </a:r>
                      <a:endParaRPr lang="ru-RU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5602507"/>
                  </a:ext>
                </a:extLst>
              </a:tr>
              <a:tr h="59548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8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Организация контрольных (надзорных) и профилактических мероприятий,</a:t>
                      </a:r>
                      <a:r>
                        <a:rPr lang="ru-RU" sz="1800" kern="1200" dirty="0">
                          <a:effectLst/>
                        </a:rPr>
                        <a:t> </a:t>
                      </a:r>
                      <a:r>
                        <a:rPr lang="ru-RU" sz="1800" kern="100" dirty="0">
                          <a:effectLst/>
                        </a:rPr>
                        <a:t>направленных на соблюдение контролируемыми лицами допустимой документационной нагрузки педагогических работников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 </a:t>
                      </a:r>
                      <a:endParaRPr lang="ru-RU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1546015"/>
                  </a:ext>
                </a:extLst>
              </a:tr>
              <a:tr h="3692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19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Проведение в образовательных организациях профилактических визитов, экспертных сессий по вопросам снижения бюрократической нагрузки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 </a:t>
                      </a:r>
                      <a:endParaRPr lang="ru-RU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6015388"/>
                  </a:ext>
                </a:extLst>
              </a:tr>
              <a:tr h="27546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20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508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00" dirty="0">
                          <a:effectLst/>
                        </a:rPr>
                        <a:t>Проведение ежемесячных мониторингов забюрократизированности региона. </a:t>
                      </a:r>
                      <a:endParaRPr lang="ru-RU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00" dirty="0">
                          <a:effectLst/>
                        </a:rPr>
                        <a:t> </a:t>
                      </a:r>
                      <a:endParaRPr lang="ru-RU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994" marR="2399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409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87969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C58725-D6DE-A3E6-F10B-FF270A0F40FB}"/>
              </a:ext>
            </a:extLst>
          </p:cNvPr>
          <p:cNvSpPr txBox="1"/>
          <p:nvPr/>
        </p:nvSpPr>
        <p:spPr>
          <a:xfrm>
            <a:off x="640315" y="2156437"/>
            <a:ext cx="8919322" cy="81406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800" b="1" dirty="0">
                <a:solidFill>
                  <a:srgbClr val="333333"/>
                </a:solidFill>
                <a:latin typeface="YS Text"/>
              </a:rPr>
              <a:t>Проведение</a:t>
            </a: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 педагогического совета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по вопросу снижения документационной нагрузки педагогических работников ДОУ.</a:t>
            </a: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Анализ нормативно-правовых актов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, связанных с трудовой деятельностью воспитателя и их актуализация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.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Актуализация и упорядочение перечня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внутренних отчётных документов и мониторингов, требующих привлечение педагогов. </a:t>
            </a: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Внесение изменений в должностные инструкции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с учётом положений Федерального закона «Об образовании в РФ», приказов Минпросвещения и Минтруда России.</a:t>
            </a: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Внесение изменений в локальные акты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ДОУ (должностные инструкции, должностные обязанности, Правила внутреннего распорядка, положение об оплате труда, положение о разработке и реализации образовательной программы, положение о проведении педагогической диагностики и  др.).</a:t>
            </a: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Корректировка и внесение изменений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в форму и содержание 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КТП.</a:t>
            </a:r>
            <a:endParaRPr lang="ru-RU" sz="1800" b="0" i="0" dirty="0">
              <a:solidFill>
                <a:srgbClr val="333333"/>
              </a:solidFill>
              <a:effectLst/>
              <a:latin typeface="YS Text"/>
            </a:endParaRP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Исключение незапланированных поручений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и обязанностей, не связанных с непосредственным решением педагогических задач.</a:t>
            </a: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dirty="0">
                <a:solidFill>
                  <a:srgbClr val="333333"/>
                </a:solidFill>
                <a:latin typeface="YS Text"/>
              </a:rPr>
              <a:t>Внедрение</a:t>
            </a: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 информационных технологий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для сбора отчётных данных и данных мониторингов.</a:t>
            </a: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Замещение документов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, оформляемых на бумажном носителе, на электронную форму. </a:t>
            </a: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Исключение дублирования информации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на электронном и бумажном носителе.</a:t>
            </a: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Правовое просвещение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посредством размещения правовой информации в открытых и общедоступных информационных ресурсах образовательной организации, проведения заседания педагогического совета, индивидуальных консультаций, опросов. </a:t>
            </a:r>
          </a:p>
          <a:p>
            <a:pPr algn="l">
              <a:spcAft>
                <a:spcPts val="600"/>
              </a:spcAft>
              <a:buFont typeface="+mj-lt"/>
              <a:buAutoNum type="arabicPeriod"/>
            </a:pPr>
            <a:r>
              <a:rPr lang="ru-RU" sz="1800" b="1" i="0" dirty="0">
                <a:solidFill>
                  <a:srgbClr val="333333"/>
                </a:solidFill>
                <a:effectLst/>
                <a:latin typeface="YS Text"/>
              </a:rPr>
              <a:t>Повышение квалификации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 в области применения информационных технологий для оформления содержания и результатов педагогической 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деятельности</a:t>
            </a:r>
            <a:r>
              <a:rPr lang="ru-RU" sz="1800" b="0" i="0" dirty="0">
                <a:solidFill>
                  <a:srgbClr val="333333"/>
                </a:solidFill>
                <a:effectLst/>
                <a:latin typeface="YS Text"/>
              </a:rPr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3BE5F2-BD6F-CA26-9CD0-ED47FDABDEBD}"/>
              </a:ext>
            </a:extLst>
          </p:cNvPr>
          <p:cNvSpPr txBox="1"/>
          <p:nvPr/>
        </p:nvSpPr>
        <p:spPr>
          <a:xfrm>
            <a:off x="1736271" y="483904"/>
            <a:ext cx="1047749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ЛАН МЕРОПРИЯТИЙ В ДОО   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9AF6C140-D492-98A8-03D7-B4CEF951DF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0153" y="2641600"/>
            <a:ext cx="6216429" cy="6389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85238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113C4B9-B306-0B31-209C-702B7B9D4357}"/>
              </a:ext>
            </a:extLst>
          </p:cNvPr>
          <p:cNvSpPr txBox="1"/>
          <p:nvPr/>
        </p:nvSpPr>
        <p:spPr>
          <a:xfrm>
            <a:off x="1834487" y="625982"/>
            <a:ext cx="11315456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ЧАТ- БОТ СФЕРУМА – ПОМОЩНИК РОСОБРНАДЗОРА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CBAF671F-045F-1347-9750-5B14C525BF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6385617"/>
              </p:ext>
            </p:extLst>
          </p:nvPr>
        </p:nvGraphicFramePr>
        <p:xfrm>
          <a:off x="-929427" y="2001788"/>
          <a:ext cx="10700657" cy="76695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26C454BB-C8DD-8061-662B-31A499F5C11C}"/>
              </a:ext>
            </a:extLst>
          </p:cNvPr>
          <p:cNvCxnSpPr/>
          <p:nvPr/>
        </p:nvCxnSpPr>
        <p:spPr>
          <a:xfrm>
            <a:off x="8371876" y="2001788"/>
            <a:ext cx="0" cy="7669578"/>
          </a:xfrm>
          <a:prstGeom prst="line">
            <a:avLst/>
          </a:prstGeom>
          <a:ln w="76200">
            <a:solidFill>
              <a:srgbClr val="565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5F49EA1-9391-3216-7F62-D0D0EECC48C7}"/>
              </a:ext>
            </a:extLst>
          </p:cNvPr>
          <p:cNvSpPr txBox="1"/>
          <p:nvPr/>
        </p:nvSpPr>
        <p:spPr>
          <a:xfrm>
            <a:off x="8733349" y="2363751"/>
            <a:ext cx="3740896" cy="483979"/>
          </a:xfrm>
          <a:prstGeom prst="rect">
            <a:avLst/>
          </a:prstGeom>
          <a:solidFill>
            <a:srgbClr val="CDCDEB"/>
          </a:solidFill>
        </p:spPr>
        <p:txBody>
          <a:bodyPr wrap="none" rtlCol="0">
            <a:spAutoFit/>
          </a:bodyPr>
          <a:lstStyle/>
          <a:p>
            <a:r>
              <a:rPr lang="ru-RU" b="1" dirty="0"/>
              <a:t>АНАЛИТИКА ОНЛАЙ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FCA5AE-5AE3-D62D-2F5A-52EB0DE8B8DA}"/>
              </a:ext>
            </a:extLst>
          </p:cNvPr>
          <p:cNvSpPr txBox="1"/>
          <p:nvPr/>
        </p:nvSpPr>
        <p:spPr>
          <a:xfrm>
            <a:off x="8771468" y="3008228"/>
            <a:ext cx="5757331" cy="2330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sz="2000" dirty="0"/>
              <a:t> количество сообщений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sz="2000" dirty="0"/>
              <a:t> тематика обращений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sz="2000" dirty="0"/>
              <a:t> содержание сообщений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sz="2000" dirty="0"/>
              <a:t> удовлетворенность    решением  проблем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sz="2000" dirty="0"/>
              <a:t>страна</a:t>
            </a:r>
            <a:r>
              <a:rPr lang="en-US" sz="2000" dirty="0"/>
              <a:t>/</a:t>
            </a:r>
            <a:r>
              <a:rPr lang="ru-RU" sz="2000" dirty="0"/>
              <a:t>регион</a:t>
            </a:r>
            <a:r>
              <a:rPr lang="en-US" sz="2000" dirty="0"/>
              <a:t>/</a:t>
            </a:r>
            <a:r>
              <a:rPr lang="ru-RU" sz="2000" dirty="0"/>
              <a:t>муниципалитет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sz="2000" dirty="0"/>
          </a:p>
          <a:p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EBA2DB-C6AC-7AAD-2198-C2704CE0E92E}"/>
              </a:ext>
            </a:extLst>
          </p:cNvPr>
          <p:cNvSpPr txBox="1"/>
          <p:nvPr/>
        </p:nvSpPr>
        <p:spPr>
          <a:xfrm>
            <a:off x="227739" y="6046392"/>
            <a:ext cx="21210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</a:rPr>
              <a:t>Региональные </a:t>
            </a:r>
          </a:p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</a:rPr>
              <a:t>операторы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0EDDF4-4017-A939-AED3-ADE69D30E79F}"/>
              </a:ext>
            </a:extLst>
          </p:cNvPr>
          <p:cNvSpPr txBox="1"/>
          <p:nvPr/>
        </p:nvSpPr>
        <p:spPr>
          <a:xfrm>
            <a:off x="202833" y="8134547"/>
            <a:ext cx="199125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423D67"/>
                </a:solidFill>
              </a:rPr>
              <a:t>Федеральные</a:t>
            </a:r>
          </a:p>
          <a:p>
            <a:r>
              <a:rPr lang="ru-RU" sz="2000" b="1" dirty="0">
                <a:solidFill>
                  <a:srgbClr val="423D67"/>
                </a:solidFill>
              </a:rPr>
              <a:t>операторы </a:t>
            </a:r>
          </a:p>
        </p:txBody>
      </p:sp>
      <p:sp>
        <p:nvSpPr>
          <p:cNvPr id="12" name="Правая фигурная скобка 11">
            <a:extLst>
              <a:ext uri="{FF2B5EF4-FFF2-40B4-BE49-F238E27FC236}">
                <a16:creationId xmlns:a16="http://schemas.microsoft.com/office/drawing/2014/main" id="{20545FB1-48B9-A5AD-6EC1-D6EFF2169FDA}"/>
              </a:ext>
            </a:extLst>
          </p:cNvPr>
          <p:cNvSpPr/>
          <p:nvPr/>
        </p:nvSpPr>
        <p:spPr>
          <a:xfrm rot="10800000">
            <a:off x="2194085" y="7310034"/>
            <a:ext cx="440535" cy="2235007"/>
          </a:xfrm>
          <a:prstGeom prst="rightBrace">
            <a:avLst/>
          </a:prstGeom>
          <a:ln w="76200">
            <a:solidFill>
              <a:srgbClr val="423D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FB75159F-0329-BF4D-C816-2B2290BAACAF}"/>
              </a:ext>
            </a:extLst>
          </p:cNvPr>
          <p:cNvCxnSpPr>
            <a:cxnSpLocks/>
          </p:cNvCxnSpPr>
          <p:nvPr/>
        </p:nvCxnSpPr>
        <p:spPr>
          <a:xfrm>
            <a:off x="2348832" y="6400335"/>
            <a:ext cx="399592" cy="0"/>
          </a:xfrm>
          <a:prstGeom prst="straightConnector1">
            <a:avLst/>
          </a:prstGeom>
          <a:ln w="7620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F0E165A-1529-2483-7751-0141B91B5A71}"/>
              </a:ext>
            </a:extLst>
          </p:cNvPr>
          <p:cNvCxnSpPr>
            <a:cxnSpLocks/>
          </p:cNvCxnSpPr>
          <p:nvPr/>
        </p:nvCxnSpPr>
        <p:spPr>
          <a:xfrm>
            <a:off x="6784623" y="6642325"/>
            <a:ext cx="0" cy="6677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632FFC6B-6B13-F9C0-725D-9F6D1A7E71EA}"/>
              </a:ext>
            </a:extLst>
          </p:cNvPr>
          <p:cNvCxnSpPr>
            <a:cxnSpLocks/>
          </p:cNvCxnSpPr>
          <p:nvPr/>
        </p:nvCxnSpPr>
        <p:spPr>
          <a:xfrm>
            <a:off x="5385270" y="7310034"/>
            <a:ext cx="13993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71E5F54-4121-07B2-AB81-1ECCE6203193}"/>
              </a:ext>
            </a:extLst>
          </p:cNvPr>
          <p:cNvSpPr txBox="1"/>
          <p:nvPr/>
        </p:nvSpPr>
        <p:spPr>
          <a:xfrm>
            <a:off x="8965884" y="6046008"/>
            <a:ext cx="5493748" cy="36456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/>
              <a:t>4168 обращений:</a:t>
            </a:r>
          </a:p>
          <a:p>
            <a:pPr marL="457200" indent="-457200">
              <a:buFontTx/>
              <a:buChar char="-"/>
            </a:pPr>
            <a:r>
              <a:rPr lang="ru-RU" sz="3600" b="1" dirty="0"/>
              <a:t>518</a:t>
            </a:r>
            <a:r>
              <a:rPr lang="ru-RU" dirty="0"/>
              <a:t> дошкольное образование </a:t>
            </a:r>
          </a:p>
          <a:p>
            <a:pPr marL="457200" indent="-457200">
              <a:buFontTx/>
              <a:buChar char="-"/>
            </a:pPr>
            <a:r>
              <a:rPr lang="ru-RU" sz="3600" b="1" dirty="0"/>
              <a:t>860</a:t>
            </a:r>
            <a:r>
              <a:rPr lang="ru-RU" dirty="0"/>
              <a:t> школа </a:t>
            </a:r>
          </a:p>
          <a:p>
            <a:pPr marL="457200" indent="-457200">
              <a:buFontTx/>
              <a:buChar char="-"/>
            </a:pPr>
            <a:r>
              <a:rPr lang="ru-RU" sz="3600" b="1" dirty="0"/>
              <a:t>127</a:t>
            </a:r>
            <a:r>
              <a:rPr lang="ru-RU" dirty="0"/>
              <a:t> колледжи</a:t>
            </a:r>
          </a:p>
          <a:p>
            <a:pPr marL="457200" indent="-457200">
              <a:buFontTx/>
              <a:buChar char="-"/>
            </a:pPr>
            <a:endParaRPr lang="ru-RU" dirty="0"/>
          </a:p>
          <a:p>
            <a:r>
              <a:rPr lang="ru-RU" sz="3600" b="1" dirty="0">
                <a:solidFill>
                  <a:srgbClr val="C00000"/>
                </a:solidFill>
              </a:rPr>
              <a:t>4,73 – средняя оценк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5014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C3CAE9-5D8C-F810-830B-7C975197EB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CE0A005-FDC8-82AC-0690-3DD5B2A40726}"/>
              </a:ext>
            </a:extLst>
          </p:cNvPr>
          <p:cNvSpPr txBox="1"/>
          <p:nvPr/>
        </p:nvSpPr>
        <p:spPr>
          <a:xfrm>
            <a:off x="2427095" y="742478"/>
            <a:ext cx="107455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6F37B8-E7DE-9C4A-B0D9-30E3693B37F9}"/>
              </a:ext>
            </a:extLst>
          </p:cNvPr>
          <p:cNvSpPr txBox="1"/>
          <p:nvPr/>
        </p:nvSpPr>
        <p:spPr>
          <a:xfrm>
            <a:off x="1834487" y="625982"/>
            <a:ext cx="11315456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ЧАТ-БОТ СФЕРУМА – ПОМОЩНИК РОСОБРНАДЗОРА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57B5E67-D280-B7D1-09E5-1D0265EB76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941" y="2149225"/>
            <a:ext cx="7436015" cy="40168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A3EEE1-2CAC-7ECF-AB30-B0795690E2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9862" y="2149225"/>
            <a:ext cx="7091455" cy="40168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9AE90F6-CFCC-2E8E-2F51-5B5D9B8F1C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99863" y="6279879"/>
            <a:ext cx="7091454" cy="40168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843D837-D6C3-2E42-854E-52660EE3BE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831" y="6350250"/>
            <a:ext cx="7329125" cy="40168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520754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88EB6-D6F4-B7DF-B296-E81E579165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594ED55-FB95-0F1D-B941-D86BB21AA67B}"/>
              </a:ext>
            </a:extLst>
          </p:cNvPr>
          <p:cNvSpPr txBox="1"/>
          <p:nvPr/>
        </p:nvSpPr>
        <p:spPr>
          <a:xfrm>
            <a:off x="2427095" y="742478"/>
            <a:ext cx="107455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8835E9-C18B-C8D9-8DA4-A7B65F86633A}"/>
              </a:ext>
            </a:extLst>
          </p:cNvPr>
          <p:cNvSpPr txBox="1"/>
          <p:nvPr/>
        </p:nvSpPr>
        <p:spPr>
          <a:xfrm>
            <a:off x="1834487" y="625982"/>
            <a:ext cx="11315456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ДАШБОРД: КОЛИЧЕСТВО ОБРАЩЕНИЙ ПО РЕГИОНАМ 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FC7AD5E-6054-A281-E3C1-911E937AA3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62722"/>
            <a:ext cx="15119350" cy="8045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4390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2D7E4-8644-AA41-981D-DB9EB6588A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E4A9640-712F-50C2-8C72-8AB412CF6E19}"/>
              </a:ext>
            </a:extLst>
          </p:cNvPr>
          <p:cNvSpPr txBox="1"/>
          <p:nvPr/>
        </p:nvSpPr>
        <p:spPr>
          <a:xfrm>
            <a:off x="2427095" y="742478"/>
            <a:ext cx="107455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E9A5A5-0363-BE44-1145-94C47A4302F9}"/>
              </a:ext>
            </a:extLst>
          </p:cNvPr>
          <p:cNvSpPr txBox="1"/>
          <p:nvPr/>
        </p:nvSpPr>
        <p:spPr>
          <a:xfrm>
            <a:off x="1834487" y="625982"/>
            <a:ext cx="11315456" cy="10717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ДАШБОРД:  СРЕДНЯЯ ОЦЕНКА УДОВЛЕТВОННОСТИ ПО РЕГИОНАМ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A1F57F4-5C1A-41BF-4DF1-2284EC1CDF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69735"/>
            <a:ext cx="15119350" cy="799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0507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0D0901-8285-AAA7-2E90-9B0674137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1BBD90D-9CAB-291C-E06B-563DFA32BBE5}"/>
              </a:ext>
            </a:extLst>
          </p:cNvPr>
          <p:cNvSpPr txBox="1"/>
          <p:nvPr/>
        </p:nvSpPr>
        <p:spPr>
          <a:xfrm>
            <a:off x="2427095" y="742478"/>
            <a:ext cx="107455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6B1B43-C29C-CA08-681F-55BBFFE4F3A8}"/>
              </a:ext>
            </a:extLst>
          </p:cNvPr>
          <p:cNvSpPr txBox="1"/>
          <p:nvPr/>
        </p:nvSpPr>
        <p:spPr>
          <a:xfrm>
            <a:off x="1834487" y="625982"/>
            <a:ext cx="11315456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ЧАТ С ПЕДАГОГИЧЕСКИМИ РАБОТНИКАМИ 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82D2877-0E41-ACDE-EFFC-D2B0CF4EF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70" y="2081000"/>
            <a:ext cx="6072372" cy="60723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EAB2DC0-5C5C-52A6-F2A7-B8954DE12135}"/>
              </a:ext>
            </a:extLst>
          </p:cNvPr>
          <p:cNvSpPr txBox="1"/>
          <p:nvPr/>
        </p:nvSpPr>
        <p:spPr>
          <a:xfrm>
            <a:off x="7276020" y="4202786"/>
            <a:ext cx="631480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dirty="0"/>
              <a:t>Дошкольное образование_</a:t>
            </a:r>
          </a:p>
          <a:p>
            <a:r>
              <a:rPr lang="ru-RU" sz="4000" b="1" dirty="0" err="1"/>
              <a:t>Бюрнагрузка</a:t>
            </a:r>
            <a:r>
              <a:rPr lang="ru-RU" sz="4000" b="1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1B5AEA-1EDA-5281-131B-8AD88309BF93}"/>
              </a:ext>
            </a:extLst>
          </p:cNvPr>
          <p:cNvSpPr txBox="1"/>
          <p:nvPr/>
        </p:nvSpPr>
        <p:spPr>
          <a:xfrm>
            <a:off x="4365171" y="8722453"/>
            <a:ext cx="699114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0" b="1" dirty="0">
                <a:solidFill>
                  <a:srgbClr val="C00000"/>
                </a:solidFill>
              </a:rPr>
              <a:t>Более 3000 человек </a:t>
            </a:r>
          </a:p>
        </p:txBody>
      </p:sp>
    </p:spTree>
    <p:extLst>
      <p:ext uri="{BB962C8B-B14F-4D97-AF65-F5344CB8AC3E}">
        <p14:creationId xmlns:p14="http://schemas.microsoft.com/office/powerpoint/2010/main" val="9269271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728057" y="526323"/>
            <a:ext cx="11849160" cy="8556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960" b="1" dirty="0">
                <a:solidFill>
                  <a:srgbClr val="423D67"/>
                </a:solidFill>
              </a:rPr>
              <a:t>ДОКУМЕНТАЦИЯ ВОСПИТАТЕЛЯ – 2023 год  </a:t>
            </a:r>
          </a:p>
        </p:txBody>
      </p:sp>
      <p:graphicFrame>
        <p:nvGraphicFramePr>
          <p:cNvPr id="3" name="Объект 3">
            <a:extLst>
              <a:ext uri="{FF2B5EF4-FFF2-40B4-BE49-F238E27FC236}">
                <a16:creationId xmlns:a16="http://schemas.microsoft.com/office/drawing/2014/main" id="{39FDC4CC-4EA3-8393-ABB6-D3058CA26C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8606025"/>
              </p:ext>
            </p:extLst>
          </p:nvPr>
        </p:nvGraphicFramePr>
        <p:xfrm>
          <a:off x="166762" y="2099734"/>
          <a:ext cx="7034733" cy="80657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1563">
                  <a:extLst>
                    <a:ext uri="{9D8B030D-6E8A-4147-A177-3AD203B41FA5}">
                      <a16:colId xmlns:a16="http://schemas.microsoft.com/office/drawing/2014/main" val="3619872456"/>
                    </a:ext>
                  </a:extLst>
                </a:gridCol>
                <a:gridCol w="5513067">
                  <a:extLst>
                    <a:ext uri="{9D8B030D-6E8A-4147-A177-3AD203B41FA5}">
                      <a16:colId xmlns:a16="http://schemas.microsoft.com/office/drawing/2014/main" val="204692504"/>
                    </a:ext>
                  </a:extLst>
                </a:gridCol>
                <a:gridCol w="1180103">
                  <a:extLst>
                    <a:ext uri="{9D8B030D-6E8A-4147-A177-3AD203B41FA5}">
                      <a16:colId xmlns:a16="http://schemas.microsoft.com/office/drawing/2014/main" val="443663958"/>
                    </a:ext>
                  </a:extLst>
                </a:gridCol>
              </a:tblGrid>
              <a:tr h="781223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№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Документ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510078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Результаты мониторинга (заполняется два раза в год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81,21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8039389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2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оспитательно-образовательной работ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8,5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7947603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3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абель посещаем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77,7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302764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Сведения о родителях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76,80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7005686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5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ротоколы родительских собрани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74,8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4333498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6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посещаемости детей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74,56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4183137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7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заимодействия с родителями (законными представителями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72,21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880712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ерспективное планирование образовательной деятель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72,1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8523397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9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утренний фильтр (указывается  температура и осмотр ребёнк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70,8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9629053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Комплексно-тематическое планирование образовательной деятель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70,0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0827874"/>
                  </a:ext>
                </a:extLst>
              </a:tr>
              <a:tr h="54507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оспитательно-образовательной деятельности на летний оздоровительный период (ЛОП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67,9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17593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Тетрадь по самообразованию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65,04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5078730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заимодействия с семьями на учебный год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62,57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0967625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14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Расписание непрерывной образовательной деятельности (НОД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62,5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593621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15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учёта использования бактерицидной лампы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62,2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7953232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аспорт группы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60,94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387441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17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апка с доверенностями на лиц, имеющих право забирать ребенка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58,47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398901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Режим дня детей (на тёплый и холодный периоды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56,16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7147151"/>
                  </a:ext>
                </a:extLst>
              </a:tr>
              <a:tr h="314891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19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Учебный план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53,8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2439119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работы по правилам дорожного движения (ПДД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8,70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531194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21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Договор родительского соглас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7,7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454337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22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пка с инструкциями по охране жизни и здоровья дете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6,7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246893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Социальный паспорт групп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5,67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6638207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>
                          <a:effectLst/>
                        </a:rPr>
                        <a:t>24</a:t>
                      </a:r>
                      <a:endParaRPr lang="ru-RU" sz="1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индивидуальной работы с деть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5,20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4347912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смены воды (указывается питьевой режим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4,9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7878605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Лист адаптации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4,3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4711077"/>
                  </a:ext>
                </a:extLst>
              </a:tr>
              <a:tr h="25698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2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Лист (</a:t>
                      </a:r>
                      <a:r>
                        <a:rPr lang="ru-RU" sz="1000" dirty="0" err="1">
                          <a:effectLst/>
                        </a:rPr>
                        <a:t>паспотрт</a:t>
                      </a:r>
                      <a:r>
                        <a:rPr lang="ru-RU" sz="1000" dirty="0">
                          <a:effectLst/>
                        </a:rPr>
                        <a:t>) здоровья дете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4,09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3074238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454C73F-F2CC-AEE4-71C3-E680398923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4159306"/>
              </p:ext>
            </p:extLst>
          </p:nvPr>
        </p:nvGraphicFramePr>
        <p:xfrm>
          <a:off x="7423566" y="2099735"/>
          <a:ext cx="7529027" cy="80657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6564">
                  <a:extLst>
                    <a:ext uri="{9D8B030D-6E8A-4147-A177-3AD203B41FA5}">
                      <a16:colId xmlns:a16="http://schemas.microsoft.com/office/drawing/2014/main" val="1079184871"/>
                    </a:ext>
                  </a:extLst>
                </a:gridCol>
                <a:gridCol w="5982570">
                  <a:extLst>
                    <a:ext uri="{9D8B030D-6E8A-4147-A177-3AD203B41FA5}">
                      <a16:colId xmlns:a16="http://schemas.microsoft.com/office/drawing/2014/main" val="1849455953"/>
                    </a:ext>
                  </a:extLst>
                </a:gridCol>
                <a:gridCol w="1139893">
                  <a:extLst>
                    <a:ext uri="{9D8B030D-6E8A-4147-A177-3AD203B41FA5}">
                      <a16:colId xmlns:a16="http://schemas.microsoft.com/office/drawing/2014/main" val="3641868477"/>
                    </a:ext>
                  </a:extLst>
                </a:gridCol>
              </a:tblGrid>
              <a:tr h="770656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№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Документ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8899" marR="2889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528786"/>
                  </a:ext>
                </a:extLst>
              </a:tr>
              <a:tr h="285698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  <a:latin typeface="+mn-lt"/>
                        </a:rPr>
                        <a:t>28</a:t>
                      </a:r>
                      <a:endParaRPr lang="ru-RU" sz="11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 влажных уборок и проветривания </a:t>
                      </a: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,90%</a:t>
                      </a: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2422244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Иные документ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41,25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8437571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апка физкультурно-оздоровительной работ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39,3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64154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обработки игрушек и игрового оборудован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9,35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4067881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на карантин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8,14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7402200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Журнал осмотра на педикулёз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7,6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1748848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осмотра территори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7,49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2448698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Лит посадки за стола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7,41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2623357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Карта развития ребенка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6,17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619570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закалива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5,9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0477019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3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Сведения о неблагополучных семьях, план работы с неблагополучными семьям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4,56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4622441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Ежедневный режим двигательной активности в организованных видах деятель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3,5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3664238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етрадь осмотра кожи и зева детей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3,2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1695495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Тетрадь стула детей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33,08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185951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Социально-демографические паспорта семей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32,56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513752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оложение о групповом родительском комитете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31,7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943443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4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лан взаимодействия с социальными партнера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8,82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7475660"/>
                  </a:ext>
                </a:extLst>
              </a:tr>
              <a:tr h="60622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5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Журнал взаимодействия воспитателя группы компенсирующей направленности со специалистами (учитель-логопед, музыкальный руководитель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8,61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943098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6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Протоколы заседаний родительских клубов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5,58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8092387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7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Безопасный маршрут «Дом-детский сад-дом (для старшей группы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4,0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7203527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48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План клубно – кружковой деятельност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3,33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2373727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</a:t>
                      </a: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Анкеты прогноза адаптации (для групп раннего возраста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23,12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4266366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0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Дневник группы (для групп раннего возраст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23,10%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636593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1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Социально-биологический анамнез (анкета –опросник) (для групп раннего возраст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17,74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6060663"/>
                  </a:ext>
                </a:extLst>
              </a:tr>
              <a:tr h="294805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2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Карты нервно-психического развития (НПР) (для групп раннего возраста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16,19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8411791"/>
                  </a:ext>
                </a:extLst>
              </a:tr>
              <a:tr h="246794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>
                          <a:effectLst/>
                        </a:rPr>
                        <a:t>53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</a:rPr>
                        <a:t>Тетрадь посещений на дому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</a:rPr>
                        <a:t>13,63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044" marR="3504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8479790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A2079C9B-3EAC-46FA-3EE5-E1B0D88216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3568" y="2823695"/>
            <a:ext cx="229069" cy="600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3395" tIns="56698" rIns="113395" bIns="5669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3156"/>
          </a:p>
        </p:txBody>
      </p:sp>
    </p:spTree>
    <p:extLst>
      <p:ext uri="{BB962C8B-B14F-4D97-AF65-F5344CB8AC3E}">
        <p14:creationId xmlns:p14="http://schemas.microsoft.com/office/powerpoint/2010/main" val="3069613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AB1F8AC8-292E-E31A-05E8-48CE6DFA49F4}"/>
              </a:ext>
            </a:extLst>
          </p:cNvPr>
          <p:cNvSpPr/>
          <p:nvPr/>
        </p:nvSpPr>
        <p:spPr>
          <a:xfrm>
            <a:off x="2860805" y="517515"/>
            <a:ext cx="8475837" cy="931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5456" b="1" dirty="0">
                <a:solidFill>
                  <a:srgbClr val="423D67"/>
                </a:solidFill>
              </a:rPr>
              <a:t>НОВЫЕ ЗАДАЧИ  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C325367-08A6-ECF4-95D4-EFC208BC4C64}"/>
              </a:ext>
            </a:extLst>
          </p:cNvPr>
          <p:cNvSpPr/>
          <p:nvPr/>
        </p:nvSpPr>
        <p:spPr>
          <a:xfrm>
            <a:off x="824089" y="8473545"/>
            <a:ext cx="12474222" cy="91440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dirty="0">
                <a:solidFill>
                  <a:schemeClr val="bg1"/>
                </a:solidFill>
              </a:rPr>
              <a:t>Новые задачи появились, а ресурсы - нет!!! </a:t>
            </a: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3348510E-B0D8-E5AA-4D36-24C1326022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4964685"/>
              </p:ext>
            </p:extLst>
          </p:nvPr>
        </p:nvGraphicFramePr>
        <p:xfrm>
          <a:off x="1016000" y="1783646"/>
          <a:ext cx="11041591" cy="65814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050" name="Picture 2" descr="Picture background">
            <a:extLst>
              <a:ext uri="{FF2B5EF4-FFF2-40B4-BE49-F238E27FC236}">
                <a16:creationId xmlns:a16="http://schemas.microsoft.com/office/drawing/2014/main" id="{749A62AC-00F4-62CC-597B-FFAE188151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7779" y="1896532"/>
            <a:ext cx="5068710" cy="644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6755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AA52707-080C-92DF-D0B2-58A6D3EAED20}"/>
              </a:ext>
            </a:extLst>
          </p:cNvPr>
          <p:cNvSpPr txBox="1"/>
          <p:nvPr/>
        </p:nvSpPr>
        <p:spPr>
          <a:xfrm>
            <a:off x="739011" y="3017194"/>
            <a:ext cx="8233280" cy="40626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/>
              <a:t>Уход педагогов из системы </a:t>
            </a:r>
          </a:p>
          <a:p>
            <a:r>
              <a:rPr lang="ru-RU" sz="3600" b="1" dirty="0"/>
              <a:t>дошкольного образования:</a:t>
            </a:r>
          </a:p>
          <a:p>
            <a:r>
              <a:rPr lang="ru-RU" sz="3600" dirty="0"/>
              <a:t> </a:t>
            </a:r>
          </a:p>
          <a:p>
            <a:r>
              <a:rPr lang="ru-RU" sz="3600" dirty="0"/>
              <a:t>В 2023 и 2024 годах – </a:t>
            </a:r>
            <a:r>
              <a:rPr lang="ru-RU" sz="5400" dirty="0">
                <a:solidFill>
                  <a:srgbClr val="C00000"/>
                </a:solidFill>
              </a:rPr>
              <a:t>28 500 </a:t>
            </a:r>
            <a:r>
              <a:rPr lang="ru-RU" sz="3600" dirty="0"/>
              <a:t>человек </a:t>
            </a:r>
          </a:p>
          <a:p>
            <a:endParaRPr lang="ru-RU" sz="3600" dirty="0"/>
          </a:p>
          <a:p>
            <a:r>
              <a:rPr lang="ru-RU" sz="3600" dirty="0"/>
              <a:t>в 2024 году –  </a:t>
            </a:r>
            <a:r>
              <a:rPr lang="ru-RU" sz="6000" dirty="0">
                <a:solidFill>
                  <a:srgbClr val="C00000"/>
                </a:solidFill>
              </a:rPr>
              <a:t>14 800 </a:t>
            </a:r>
            <a:r>
              <a:rPr lang="ru-RU" sz="3600" dirty="0"/>
              <a:t>человек</a:t>
            </a:r>
          </a:p>
        </p:txBody>
      </p:sp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A6FE4E80-03D0-3980-6896-05C5F6B8EA39}"/>
              </a:ext>
            </a:extLst>
          </p:cNvPr>
          <p:cNvSpPr/>
          <p:nvPr/>
        </p:nvSpPr>
        <p:spPr>
          <a:xfrm>
            <a:off x="2860805" y="517515"/>
            <a:ext cx="8475837" cy="931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5456" b="1" dirty="0">
                <a:solidFill>
                  <a:srgbClr val="423D67"/>
                </a:solidFill>
              </a:rPr>
              <a:t>ПОТЕРЯ КАДРОВ    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FBC853F-4DDC-B40B-1D09-76AEEF6DB1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2291" y="1617389"/>
            <a:ext cx="5826057" cy="82728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33967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860805" y="517515"/>
            <a:ext cx="8475837" cy="931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5456" b="1" dirty="0">
                <a:solidFill>
                  <a:srgbClr val="423D67"/>
                </a:solidFill>
              </a:rPr>
              <a:t>ПРИЧИНЫ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F61F6663-70D4-0DA9-3DE9-309F2566F6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7977885"/>
              </p:ext>
            </p:extLst>
          </p:nvPr>
        </p:nvGraphicFramePr>
        <p:xfrm>
          <a:off x="955002" y="2436740"/>
          <a:ext cx="7206864" cy="57127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32DFF62-2EBF-32C8-DF1C-9B403ECF7611}"/>
              </a:ext>
            </a:extLst>
          </p:cNvPr>
          <p:cNvSpPr/>
          <p:nvPr/>
        </p:nvSpPr>
        <p:spPr>
          <a:xfrm>
            <a:off x="9053689" y="2413542"/>
            <a:ext cx="4910666" cy="1705243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dirty="0">
                <a:solidFill>
                  <a:srgbClr val="002060"/>
                </a:solidFill>
              </a:rPr>
              <a:t>Федеральный уровень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3A5D4A8-E727-6968-28AA-6A49FA9D20E5}"/>
              </a:ext>
            </a:extLst>
          </p:cNvPr>
          <p:cNvSpPr/>
          <p:nvPr/>
        </p:nvSpPr>
        <p:spPr>
          <a:xfrm>
            <a:off x="9053689" y="4405720"/>
            <a:ext cx="4910666" cy="1705243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dirty="0">
                <a:solidFill>
                  <a:srgbClr val="002060"/>
                </a:solidFill>
              </a:rPr>
              <a:t>Региональный уровень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7214B79-4CEE-FD61-42F2-EEABA477D912}"/>
              </a:ext>
            </a:extLst>
          </p:cNvPr>
          <p:cNvSpPr/>
          <p:nvPr/>
        </p:nvSpPr>
        <p:spPr>
          <a:xfrm>
            <a:off x="9053689" y="6397898"/>
            <a:ext cx="4910666" cy="1705243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dirty="0">
                <a:solidFill>
                  <a:srgbClr val="002060"/>
                </a:solidFill>
              </a:rPr>
              <a:t>Локальный</a:t>
            </a:r>
            <a:r>
              <a:rPr lang="ru-RU" sz="4400" dirty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</a:rPr>
              <a:t>уровень 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A051C8AC-18CC-3E64-1328-284CCC76DA09}"/>
              </a:ext>
            </a:extLst>
          </p:cNvPr>
          <p:cNvSpPr/>
          <p:nvPr/>
        </p:nvSpPr>
        <p:spPr>
          <a:xfrm>
            <a:off x="1314300" y="8933963"/>
            <a:ext cx="12947527" cy="64884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66AC4C-59C7-EEA7-74B2-76B765642C73}"/>
              </a:ext>
            </a:extLst>
          </p:cNvPr>
          <p:cNvSpPr txBox="1"/>
          <p:nvPr/>
        </p:nvSpPr>
        <p:spPr>
          <a:xfrm>
            <a:off x="1314299" y="9012986"/>
            <a:ext cx="12871307" cy="47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80" b="1" dirty="0"/>
              <a:t>Избыточный сбор данных без обратной связи, а реально нужных данных нет  </a:t>
            </a: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1BF1299F-6D01-E4E6-7EA5-889C6D73E02D}"/>
              </a:ext>
            </a:extLst>
          </p:cNvPr>
          <p:cNvSpPr/>
          <p:nvPr/>
        </p:nvSpPr>
        <p:spPr>
          <a:xfrm>
            <a:off x="1314297" y="9723734"/>
            <a:ext cx="12947530" cy="64884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56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751141-CA0C-C660-235E-CE5981026F91}"/>
              </a:ext>
            </a:extLst>
          </p:cNvPr>
          <p:cNvSpPr txBox="1"/>
          <p:nvPr/>
        </p:nvSpPr>
        <p:spPr>
          <a:xfrm>
            <a:off x="1395185" y="9746438"/>
            <a:ext cx="1347107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/>
              <a:t>Данные имеющихся ИС не позволяют обеспечить автоматизацию мониторингов   </a:t>
            </a:r>
          </a:p>
        </p:txBody>
      </p:sp>
    </p:spTree>
    <p:extLst>
      <p:ext uri="{BB962C8B-B14F-4D97-AF65-F5344CB8AC3E}">
        <p14:creationId xmlns:p14="http://schemas.microsoft.com/office/powerpoint/2010/main" val="3872246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493024" y="459160"/>
            <a:ext cx="10263420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ПРИОРИТЕТ ПРАВИТЕЛЬСТВА РОССИЙСКОЙ ФЕДЕРАЦИИ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B5EE2F4-D581-7231-47AD-91D5EF938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3911" y="2555130"/>
            <a:ext cx="8271482" cy="4788753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67E325A-DC44-A4C1-E574-5BF504BA3FF2}"/>
              </a:ext>
            </a:extLst>
          </p:cNvPr>
          <p:cNvSpPr/>
          <p:nvPr/>
        </p:nvSpPr>
        <p:spPr>
          <a:xfrm>
            <a:off x="2223911" y="7977391"/>
            <a:ext cx="8271482" cy="1220857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63" b="1" dirty="0">
                <a:solidFill>
                  <a:schemeClr val="tx1"/>
                </a:solidFill>
              </a:rPr>
              <a:t>Снижение бюрократической нагрузки </a:t>
            </a:r>
          </a:p>
          <a:p>
            <a:pPr algn="ctr"/>
            <a:r>
              <a:rPr lang="ru-RU" sz="2863" b="1" dirty="0">
                <a:solidFill>
                  <a:schemeClr val="tx1"/>
                </a:solidFill>
              </a:rPr>
              <a:t>на всех уровнях образования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9BF7C0-C561-C5D0-F921-D96D49F23B2B}"/>
              </a:ext>
            </a:extLst>
          </p:cNvPr>
          <p:cNvSpPr txBox="1"/>
          <p:nvPr/>
        </p:nvSpPr>
        <p:spPr>
          <a:xfrm>
            <a:off x="10724012" y="4038498"/>
            <a:ext cx="4242101" cy="1608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156" b="1" dirty="0">
                <a:solidFill>
                  <a:srgbClr val="423D67"/>
                </a:solidFill>
              </a:rPr>
              <a:t>П</a:t>
            </a:r>
            <a:r>
              <a:rPr lang="ru-RU" sz="2232" b="1" dirty="0">
                <a:solidFill>
                  <a:srgbClr val="423D67"/>
                </a:solidFill>
              </a:rPr>
              <a:t>оручение Председателя Правительства Российской Федерации М.В. Мишустина </a:t>
            </a:r>
          </a:p>
          <a:p>
            <a:r>
              <a:rPr lang="ru-RU" sz="2232" b="1" dirty="0">
                <a:solidFill>
                  <a:srgbClr val="423D67"/>
                </a:solidFill>
              </a:rPr>
              <a:t>от 30.03.2023 № ММ-П8-4473 </a:t>
            </a:r>
          </a:p>
        </p:txBody>
      </p:sp>
    </p:spTree>
    <p:extLst>
      <p:ext uri="{BB962C8B-B14F-4D97-AF65-F5344CB8AC3E}">
        <p14:creationId xmlns:p14="http://schemas.microsoft.com/office/powerpoint/2010/main" val="26401172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413337" y="698050"/>
            <a:ext cx="994377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СНОВНЫЕ ЗАДАЧИ 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84EFA50-6277-3429-C8BF-59F6A8F3A225}"/>
              </a:ext>
            </a:extLst>
          </p:cNvPr>
          <p:cNvSpPr/>
          <p:nvPr/>
        </p:nvSpPr>
        <p:spPr>
          <a:xfrm>
            <a:off x="1120737" y="8687478"/>
            <a:ext cx="6390806" cy="130628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сечь все лишнее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91E325C-A812-7B64-E278-9AB1D64A0E10}"/>
              </a:ext>
            </a:extLst>
          </p:cNvPr>
          <p:cNvSpPr/>
          <p:nvPr/>
        </p:nvSpPr>
        <p:spPr>
          <a:xfrm>
            <a:off x="7753185" y="8664642"/>
            <a:ext cx="6156960" cy="130628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ставить нужное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FCD464E-CD52-93D5-49A1-196410869A2E}"/>
              </a:ext>
            </a:extLst>
          </p:cNvPr>
          <p:cNvSpPr/>
          <p:nvPr/>
        </p:nvSpPr>
        <p:spPr>
          <a:xfrm>
            <a:off x="1133856" y="2572512"/>
            <a:ext cx="2598779" cy="24505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800" b="1" dirty="0">
                <a:solidFill>
                  <a:srgbClr val="423D67"/>
                </a:solidFill>
              </a:rPr>
              <a:t>Снижение и  конкретизация объема документации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D94A4F1-086A-3F9B-6C58-893AAA6F57B9}"/>
              </a:ext>
            </a:extLst>
          </p:cNvPr>
          <p:cNvSpPr/>
          <p:nvPr/>
        </p:nvSpPr>
        <p:spPr>
          <a:xfrm>
            <a:off x="3820970" y="2572512"/>
            <a:ext cx="2560572" cy="24505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b="1" dirty="0">
                <a:solidFill>
                  <a:srgbClr val="423D67"/>
                </a:solidFill>
              </a:rPr>
              <a:t>Снижение  количества  мониторингов</a:t>
            </a:r>
          </a:p>
          <a:p>
            <a:pPr lvl="0" algn="ctr"/>
            <a:r>
              <a:rPr lang="ru-RU" sz="1600" b="1" dirty="0">
                <a:solidFill>
                  <a:srgbClr val="423D67"/>
                </a:solidFill>
              </a:rPr>
              <a:t>и</a:t>
            </a:r>
          </a:p>
          <a:p>
            <a:pPr lvl="0" algn="ctr"/>
            <a:r>
              <a:rPr lang="ru-RU" sz="1600" b="1" dirty="0">
                <a:solidFill>
                  <a:srgbClr val="423D67"/>
                </a:solidFill>
              </a:rPr>
              <a:t>информационных систем 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7E1291E-19A0-F188-A7E4-E4B3F44730AE}"/>
              </a:ext>
            </a:extLst>
          </p:cNvPr>
          <p:cNvSpPr/>
          <p:nvPr/>
        </p:nvSpPr>
        <p:spPr>
          <a:xfrm>
            <a:off x="6519162" y="2572512"/>
            <a:ext cx="2387771" cy="24505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>
                <a:solidFill>
                  <a:srgbClr val="423D67"/>
                </a:solidFill>
              </a:rPr>
              <a:t>Снижение количества запросов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7A6E696-12C1-61A8-B2C0-DE745C8429CB}"/>
              </a:ext>
            </a:extLst>
          </p:cNvPr>
          <p:cNvSpPr/>
          <p:nvPr/>
        </p:nvSpPr>
        <p:spPr>
          <a:xfrm>
            <a:off x="1120735" y="5233885"/>
            <a:ext cx="12789409" cy="130628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423D67"/>
                </a:solidFill>
              </a:rPr>
              <a:t>Формирование  механизма контрольно-надзорной деятельности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7A897C9-79B6-43AE-FB0A-70632CC2F2BD}"/>
              </a:ext>
            </a:extLst>
          </p:cNvPr>
          <p:cNvSpPr/>
          <p:nvPr/>
        </p:nvSpPr>
        <p:spPr>
          <a:xfrm>
            <a:off x="9044553" y="2572512"/>
            <a:ext cx="2387771" cy="24505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1800" b="1" dirty="0">
                <a:solidFill>
                  <a:srgbClr val="423D67"/>
                </a:solidFill>
              </a:rPr>
              <a:t>Конкретизация функционала педагогических работников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0CF704E-F0E7-15BE-CC66-9620C53DDADD}"/>
              </a:ext>
            </a:extLst>
          </p:cNvPr>
          <p:cNvSpPr/>
          <p:nvPr/>
        </p:nvSpPr>
        <p:spPr>
          <a:xfrm>
            <a:off x="1120736" y="6750951"/>
            <a:ext cx="12789409" cy="130628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423D67"/>
                </a:solidFill>
              </a:rPr>
              <a:t>Формирование  механизма административных наказаний за нарушение требований к документационной нагрузке 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921A035-F4CB-7AF4-8CB8-279B2DCB4944}"/>
              </a:ext>
            </a:extLst>
          </p:cNvPr>
          <p:cNvCxnSpPr/>
          <p:nvPr/>
        </p:nvCxnSpPr>
        <p:spPr>
          <a:xfrm>
            <a:off x="1120736" y="8388096"/>
            <a:ext cx="12734943" cy="0"/>
          </a:xfrm>
          <a:prstGeom prst="line">
            <a:avLst/>
          </a:prstGeom>
          <a:ln w="76200">
            <a:solidFill>
              <a:srgbClr val="9D9DD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D01279D-46A0-8E94-78CD-211555D1F11E}"/>
              </a:ext>
            </a:extLst>
          </p:cNvPr>
          <p:cNvSpPr/>
          <p:nvPr/>
        </p:nvSpPr>
        <p:spPr>
          <a:xfrm>
            <a:off x="11569945" y="2561280"/>
            <a:ext cx="2306488" cy="24505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1800" b="1" dirty="0">
                <a:solidFill>
                  <a:srgbClr val="423D67"/>
                </a:solidFill>
              </a:rPr>
              <a:t>Снижение количества мероприятий </a:t>
            </a:r>
          </a:p>
        </p:txBody>
      </p:sp>
    </p:spTree>
    <p:extLst>
      <p:ext uri="{BB962C8B-B14F-4D97-AF65-F5344CB8AC3E}">
        <p14:creationId xmlns:p14="http://schemas.microsoft.com/office/powerpoint/2010/main" val="37555003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CFFAFC8-D13F-C7CF-E255-56A3E57B8C06}"/>
              </a:ext>
            </a:extLst>
          </p:cNvPr>
          <p:cNvSpPr txBox="1"/>
          <p:nvPr/>
        </p:nvSpPr>
        <p:spPr>
          <a:xfrm>
            <a:off x="1147315" y="163952"/>
            <a:ext cx="1047749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423D67"/>
                </a:solidFill>
              </a:rPr>
              <a:t>ГОСУДАРСТВЕННАЯ РЕГЛАМЕНТАЦИЯ  БЮРОКРАТИЧЕСКОЙ НАГРУЗКИ    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2FEF26D-3042-884C-79EF-D3311013CE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616484"/>
              </p:ext>
            </p:extLst>
          </p:nvPr>
        </p:nvGraphicFramePr>
        <p:xfrm>
          <a:off x="488496" y="1512711"/>
          <a:ext cx="14160953" cy="852203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133370">
                  <a:extLst>
                    <a:ext uri="{9D8B030D-6E8A-4147-A177-3AD203B41FA5}">
                      <a16:colId xmlns:a16="http://schemas.microsoft.com/office/drawing/2014/main" val="3686103623"/>
                    </a:ext>
                  </a:extLst>
                </a:gridCol>
                <a:gridCol w="3993777">
                  <a:extLst>
                    <a:ext uri="{9D8B030D-6E8A-4147-A177-3AD203B41FA5}">
                      <a16:colId xmlns:a16="http://schemas.microsoft.com/office/drawing/2014/main" val="516741832"/>
                    </a:ext>
                  </a:extLst>
                </a:gridCol>
                <a:gridCol w="2796988">
                  <a:extLst>
                    <a:ext uri="{9D8B030D-6E8A-4147-A177-3AD203B41FA5}">
                      <a16:colId xmlns:a16="http://schemas.microsoft.com/office/drawing/2014/main" val="568660682"/>
                    </a:ext>
                  </a:extLst>
                </a:gridCol>
                <a:gridCol w="3236818">
                  <a:extLst>
                    <a:ext uri="{9D8B030D-6E8A-4147-A177-3AD203B41FA5}">
                      <a16:colId xmlns:a16="http://schemas.microsoft.com/office/drawing/2014/main" val="54404954"/>
                    </a:ext>
                  </a:extLst>
                </a:gridCol>
              </a:tblGrid>
              <a:tr h="821126">
                <a:tc>
                  <a:txBody>
                    <a:bodyPr/>
                    <a:lstStyle/>
                    <a:p>
                      <a:r>
                        <a:rPr lang="ru-RU" sz="2400" dirty="0"/>
                        <a:t> Федеральное законодательство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Приказы и иные документы ФОИ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err="1"/>
                        <a:t>Профстандарты</a:t>
                      </a:r>
                      <a:r>
                        <a:rPr lang="ru-RU" sz="2400" dirty="0"/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Должностные инструкц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526541"/>
                  </a:ext>
                </a:extLst>
              </a:tr>
              <a:tr h="922346">
                <a:tc rowSpan="2">
                  <a:txBody>
                    <a:bodyPr/>
                    <a:lstStyle/>
                    <a:p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</a:t>
                      </a:r>
                    </a:p>
                    <a:p>
                      <a:r>
                        <a:rPr lang="ru-RU" sz="1400" b="0" dirty="0"/>
                        <a:t>формировать перечни документов педагогических работников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endParaRPr lang="ru-RU" sz="14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Приказы о перечне документов педагогов всех уровней образования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/>
                        <a:t>Дополнить профстандарт педагога трудовой функцией «документационная деятельность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/>
                        <a:t>Разработать и утвердить  типовые  должностные инструкции учителя-предметника и классного руководителя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604643"/>
                  </a:ext>
                </a:extLst>
              </a:tr>
              <a:tr h="922346">
                <a:tc vMerge="1">
                  <a:txBody>
                    <a:bodyPr/>
                    <a:lstStyle/>
                    <a:p>
                      <a:endParaRPr lang="ru-RU" sz="14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риказы о перечнях документов всех категорий педагогических работник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Обеспечить разработку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</a:rPr>
                        <a:t>профстандартов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 ко всем категориям педагогических работник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Разработать и утвердить  типовые должностные инструкции для всех категорий педагогических работник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24045"/>
                  </a:ext>
                </a:extLst>
              </a:tr>
              <a:tr h="785127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/>
                        <a:t>Наделить правом образовательные организации не отвечать на запросы, не имеющие федеральных основани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Приказы о персональной ответственности за исходящую документацию из ФОИВ </a:t>
                      </a:r>
                    </a:p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7" gridSpan="2"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 </a:t>
                      </a:r>
                      <a:r>
                        <a:rPr lang="ru-RU" sz="2400" b="1" dirty="0">
                          <a:solidFill>
                            <a:schemeClr val="tx1"/>
                          </a:solidFill>
                        </a:rPr>
                        <a:t>Привести в соответствие федеральные, региональные и локальные НПА, а также методические и инструктивные материалы законодательству РФ 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rowSpan="7"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378905"/>
                  </a:ext>
                </a:extLst>
              </a:tr>
              <a:tr h="714074">
                <a:tc rowSpan="2">
                  <a:txBody>
                    <a:bodyPr/>
                    <a:lstStyle/>
                    <a:p>
                      <a:pPr lvl="0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273 ФЗ, ст. 97. п. 3.1 </a:t>
                      </a:r>
                    </a:p>
                    <a:p>
                      <a:pPr lvl="0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Согласование региональных оценочных процедур с Рособрнадзором </a:t>
                      </a:r>
                      <a:endParaRPr lang="ru-RU" sz="14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Письмо Рособрнадзора от </a:t>
                      </a:r>
                      <a:r>
                        <a:rPr lang="en-US" sz="12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.12.2024 </a:t>
                      </a:r>
                      <a:r>
                        <a:rPr lang="ru-RU" sz="12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  <a:r>
                        <a:rPr lang="en-US" sz="12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02-361 </a:t>
                      </a:r>
                      <a:r>
                        <a:rPr lang="ru-RU" sz="12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«</a:t>
                      </a:r>
                      <a:r>
                        <a:rPr lang="ru-RU" sz="1400" dirty="0"/>
                        <a:t>Методические рекомендации о порядке согласования ..»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3859485"/>
                  </a:ext>
                </a:extLst>
              </a:tr>
              <a:tr h="7140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остановление Правительства РФ </a:t>
                      </a:r>
                    </a:p>
                    <a:p>
                      <a:pPr lvl="0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о мероприятиях оценки качества образования  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0383462"/>
                  </a:ext>
                </a:extLst>
              </a:tr>
              <a:tr h="785127">
                <a:tc rowSpan="2"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/>
                        <a:t>Нормы ФЗ по проведению и иных  мероприятий, реализуемых за пределами образовательной программы</a:t>
                      </a:r>
                    </a:p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/>
                    </a:p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/>
                    </a:p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/>
                        <a:t>Упорядочить, конкретизировать и синхронизировать требования к оценке качества образования</a:t>
                      </a:r>
                    </a:p>
                    <a:p>
                      <a:r>
                        <a:rPr lang="ru-RU" sz="1400" b="0" dirty="0"/>
          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Изменения во ФГОС в части требований к объему рабочей программы воспитания </a:t>
                      </a:r>
                    </a:p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668402"/>
                  </a:ext>
                </a:extLst>
              </a:tr>
              <a:tr h="9703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Приказ об утверждении функционала классного руководителя </a:t>
                      </a:r>
                    </a:p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8412779"/>
                  </a:ext>
                </a:extLst>
              </a:tr>
              <a:tr h="714074">
                <a:tc>
                  <a:txBody>
                    <a:bodyPr/>
                    <a:lstStyle/>
                    <a:p>
                      <a:r>
                        <a:rPr lang="ru-RU" sz="1400" b="0" dirty="0"/>
                        <a:t>Норма, запрещающая требовать заполнение информационных систем и мониторингов, не предусмотренных законодательством РФ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риказы об утверждении мониторингов и информационных систем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246031"/>
                  </a:ext>
                </a:extLst>
              </a:tr>
              <a:tr h="817947">
                <a:tc>
                  <a:txBody>
                    <a:bodyPr/>
                    <a:lstStyle/>
                    <a:p>
                      <a:r>
                        <a:rPr lang="ru-RU" sz="1400" b="0" dirty="0"/>
                        <a:t>Конкретизировать понятия «образовательная программа»,  «педагогическая деятельность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Методические рекомендац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7210133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A2EA631-C0BA-E70B-933C-E775150CB802}"/>
              </a:ext>
            </a:extLst>
          </p:cNvPr>
          <p:cNvSpPr/>
          <p:nvPr/>
        </p:nvSpPr>
        <p:spPr>
          <a:xfrm>
            <a:off x="4702477" y="9977686"/>
            <a:ext cx="1002474" cy="5466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ABCCC93-5EF5-4143-354C-15D751537F9C}"/>
              </a:ext>
            </a:extLst>
          </p:cNvPr>
          <p:cNvSpPr/>
          <p:nvPr/>
        </p:nvSpPr>
        <p:spPr>
          <a:xfrm>
            <a:off x="10003809" y="9927352"/>
            <a:ext cx="1062420" cy="57797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090081-AA52-5B1A-B846-7246AE436B9E}"/>
              </a:ext>
            </a:extLst>
          </p:cNvPr>
          <p:cNvSpPr txBox="1"/>
          <p:nvPr/>
        </p:nvSpPr>
        <p:spPr>
          <a:xfrm>
            <a:off x="5704951" y="10026078"/>
            <a:ext cx="3655873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Частично реализовано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127F8B-A9F5-F95A-3001-F3EB1061D858}"/>
              </a:ext>
            </a:extLst>
          </p:cNvPr>
          <p:cNvSpPr txBox="1"/>
          <p:nvPr/>
        </p:nvSpPr>
        <p:spPr>
          <a:xfrm>
            <a:off x="11232359" y="9958683"/>
            <a:ext cx="2647584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е реализовано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A2EA631-C0BA-E70B-933C-E775150CB802}"/>
              </a:ext>
            </a:extLst>
          </p:cNvPr>
          <p:cNvSpPr/>
          <p:nvPr/>
        </p:nvSpPr>
        <p:spPr>
          <a:xfrm>
            <a:off x="488496" y="9927352"/>
            <a:ext cx="1002474" cy="54664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E090081-AA52-5B1A-B846-7246AE436B9E}"/>
              </a:ext>
            </a:extLst>
          </p:cNvPr>
          <p:cNvSpPr txBox="1"/>
          <p:nvPr/>
        </p:nvSpPr>
        <p:spPr>
          <a:xfrm>
            <a:off x="1589519" y="9990016"/>
            <a:ext cx="2161938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еализовано</a:t>
            </a:r>
          </a:p>
        </p:txBody>
      </p:sp>
      <p:sp>
        <p:nvSpPr>
          <p:cNvPr id="4" name="Фигура, имеющая форму буквы L 3">
            <a:extLst>
              <a:ext uri="{FF2B5EF4-FFF2-40B4-BE49-F238E27FC236}">
                <a16:creationId xmlns:a16="http://schemas.microsoft.com/office/drawing/2014/main" id="{FD39916A-4C0E-F00B-C47F-63D324C006BB}"/>
              </a:ext>
            </a:extLst>
          </p:cNvPr>
          <p:cNvSpPr/>
          <p:nvPr/>
        </p:nvSpPr>
        <p:spPr>
          <a:xfrm rot="18575806">
            <a:off x="7739268" y="2515466"/>
            <a:ext cx="368661" cy="640224"/>
          </a:xfrm>
          <a:prstGeom prst="corne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Фигура, имеющая форму буквы L 8">
            <a:extLst>
              <a:ext uri="{FF2B5EF4-FFF2-40B4-BE49-F238E27FC236}">
                <a16:creationId xmlns:a16="http://schemas.microsoft.com/office/drawing/2014/main" id="{840264B0-5858-F35D-1AC9-7DCA46EE0B14}"/>
              </a:ext>
            </a:extLst>
          </p:cNvPr>
          <p:cNvSpPr/>
          <p:nvPr/>
        </p:nvSpPr>
        <p:spPr>
          <a:xfrm rot="18575806">
            <a:off x="4076752" y="4284319"/>
            <a:ext cx="368661" cy="640224"/>
          </a:xfrm>
          <a:prstGeom prst="corne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Фигура, имеющая форму буквы L 13">
            <a:extLst>
              <a:ext uri="{FF2B5EF4-FFF2-40B4-BE49-F238E27FC236}">
                <a16:creationId xmlns:a16="http://schemas.microsoft.com/office/drawing/2014/main" id="{C33EBBFA-B4C6-A29B-9172-A1178BE99CC0}"/>
              </a:ext>
            </a:extLst>
          </p:cNvPr>
          <p:cNvSpPr/>
          <p:nvPr/>
        </p:nvSpPr>
        <p:spPr>
          <a:xfrm rot="18575806">
            <a:off x="4076752" y="2565425"/>
            <a:ext cx="368661" cy="640224"/>
          </a:xfrm>
          <a:prstGeom prst="corne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385101C4-A9E2-3FC7-A98C-9B254646F170}"/>
              </a:ext>
            </a:extLst>
          </p:cNvPr>
          <p:cNvCxnSpPr>
            <a:cxnSpLocks/>
          </p:cNvCxnSpPr>
          <p:nvPr/>
        </p:nvCxnSpPr>
        <p:spPr>
          <a:xfrm>
            <a:off x="478971" y="7484533"/>
            <a:ext cx="41531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5238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414</TotalTime>
  <Words>2600</Words>
  <Application>Microsoft Office PowerPoint</Application>
  <PresentationFormat>Произвольный</PresentationFormat>
  <Paragraphs>696</Paragraphs>
  <Slides>2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7" baseType="lpstr">
      <vt:lpstr>YS Text</vt:lpstr>
      <vt:lpstr>Wingdings</vt:lpstr>
      <vt:lpstr>Calibri Light</vt:lpstr>
      <vt:lpstr>Arial</vt:lpstr>
      <vt:lpstr>Times New Roman</vt:lpstr>
      <vt:lpstr>Calibri</vt:lpstr>
      <vt:lpstr>ITCFranklinGothicW10-Bk 862339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плинов Ярослав</dc:creator>
  <cp:lastModifiedBy>Наталья Алтыникова</cp:lastModifiedBy>
  <cp:revision>890</cp:revision>
  <cp:lastPrinted>2021-03-16T12:01:01Z</cp:lastPrinted>
  <dcterms:created xsi:type="dcterms:W3CDTF">2020-06-19T06:58:49Z</dcterms:created>
  <dcterms:modified xsi:type="dcterms:W3CDTF">2025-05-28T07:22:19Z</dcterms:modified>
</cp:coreProperties>
</file>